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816" r:id="rId5"/>
    <p:sldMasterId id="2147483841" r:id="rId6"/>
    <p:sldMasterId id="2147483855" r:id="rId7"/>
  </p:sldMasterIdLst>
  <p:notesMasterIdLst>
    <p:notesMasterId r:id="rId26"/>
  </p:notesMasterIdLst>
  <p:handoutMasterIdLst>
    <p:handoutMasterId r:id="rId27"/>
  </p:handoutMasterIdLst>
  <p:sldIdLst>
    <p:sldId id="386" r:id="rId8"/>
    <p:sldId id="387" r:id="rId9"/>
    <p:sldId id="418" r:id="rId10"/>
    <p:sldId id="388" r:id="rId11"/>
    <p:sldId id="390" r:id="rId12"/>
    <p:sldId id="410" r:id="rId13"/>
    <p:sldId id="406" r:id="rId14"/>
    <p:sldId id="409" r:id="rId15"/>
    <p:sldId id="412" r:id="rId16"/>
    <p:sldId id="414" r:id="rId17"/>
    <p:sldId id="413" r:id="rId18"/>
    <p:sldId id="389" r:id="rId19"/>
    <p:sldId id="408" r:id="rId20"/>
    <p:sldId id="416" r:id="rId21"/>
    <p:sldId id="417" r:id="rId22"/>
    <p:sldId id="391" r:id="rId23"/>
    <p:sldId id="415" r:id="rId24"/>
    <p:sldId id="398" r:id="rId25"/>
  </p:sldIdLst>
  <p:sldSz cx="9144000" cy="6858000" type="screen4x3"/>
  <p:notesSz cx="6669088" cy="9926638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15">
          <p15:clr>
            <a:srgbClr val="A4A3A4"/>
          </p15:clr>
        </p15:guide>
        <p15:guide id="2" orient="horz" pos="848">
          <p15:clr>
            <a:srgbClr val="A4A3A4"/>
          </p15:clr>
        </p15:guide>
        <p15:guide id="3" pos="5305">
          <p15:clr>
            <a:srgbClr val="A4A3A4"/>
          </p15:clr>
        </p15:guide>
        <p15:guide id="4" pos="5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abang Phefo [ MTN - Innovation Centre ]" initials="TP[M-IC]" lastIdx="1" clrIdx="0">
    <p:extLst>
      <p:ext uri="{19B8F6BF-5375-455C-9EA6-DF929625EA0E}">
        <p15:presenceInfo xmlns:p15="http://schemas.microsoft.com/office/powerpoint/2012/main" userId="S-1-5-21-502757206-1005391493-1542849698-25735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B05"/>
    <a:srgbClr val="D9DBDD"/>
    <a:srgbClr val="CDCFD1"/>
    <a:srgbClr val="BCBEC0"/>
    <a:srgbClr val="76BDC0"/>
    <a:srgbClr val="8D4700"/>
    <a:srgbClr val="462B76"/>
    <a:srgbClr val="F073AC"/>
    <a:srgbClr val="95D8DB"/>
    <a:srgbClr val="69F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9718" autoAdjust="0"/>
    <p:restoredTop sz="96113" autoAdjust="0"/>
  </p:normalViewPr>
  <p:slideViewPr>
    <p:cSldViewPr snapToGrid="0" snapToObjects="1">
      <p:cViewPr varScale="1">
        <p:scale>
          <a:sx n="92" d="100"/>
          <a:sy n="92" d="100"/>
        </p:scale>
        <p:origin x="816" y="414"/>
      </p:cViewPr>
      <p:guideLst>
        <p:guide orient="horz" pos="2915"/>
        <p:guide orient="horz" pos="848"/>
        <p:guide pos="5305"/>
        <p:guide pos="566"/>
      </p:guideLst>
    </p:cSldViewPr>
  </p:slideViewPr>
  <p:outlineViewPr>
    <p:cViewPr>
      <p:scale>
        <a:sx n="33" d="100"/>
        <a:sy n="33" d="100"/>
      </p:scale>
      <p:origin x="0" y="78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-4080" y="-102"/>
      </p:cViewPr>
      <p:guideLst>
        <p:guide orient="horz" pos="3126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8A0A54-A4BE-3042-9723-6028D337C4C4}" type="datetimeFigureOut">
              <a:rPr lang="en-US" smtClean="0"/>
              <a:pPr/>
              <a:t>3/2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D9AFCB-1113-1A43-938A-23BAB0FE841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18845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80CADF-E435-1849-BE0E-35EEACC453F9}" type="datetimeFigureOut">
              <a:rPr lang="en-US" smtClean="0"/>
              <a:pPr/>
              <a:t>3/2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15154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683127-4977-424C-B8AE-E787819430F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40565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1.xml"/><Relationship Id="rId7" Type="http://schemas.openxmlformats.org/officeDocument/2006/relationships/image" Target="../media/image5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4.bin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5.bin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6.bin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7.bin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8.bin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0346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1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82099" y="6158194"/>
            <a:ext cx="2880000" cy="21544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ZA" sz="1900" b="1" i="1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ZA" dirty="0" smtClean="0"/>
              <a:t>Click to insert date</a:t>
            </a:r>
            <a:endParaRPr lang="en-ZA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-5452" y="1012371"/>
            <a:ext cx="9149452" cy="41229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682099" y="5339444"/>
            <a:ext cx="2880000" cy="73249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0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insert presentation nam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3496787" y="318861"/>
            <a:ext cx="5086350" cy="595313"/>
          </a:xfrm>
        </p:spPr>
        <p:txBody>
          <a:bodyPr/>
          <a:lstStyle>
            <a:lvl1pPr algn="r">
              <a:defRPr sz="2700" b="1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insert Head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2365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-5452" y="1"/>
            <a:ext cx="9149452" cy="4071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4" y="2453054"/>
            <a:ext cx="9144000" cy="4404946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922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4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950187" y="5848705"/>
            <a:ext cx="5244248" cy="309489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insert presentation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950187" y="6158194"/>
            <a:ext cx="5244248" cy="215444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ZA" sz="1600" b="1" i="1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ZA" dirty="0" smtClean="0"/>
              <a:t>Click to insert dat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40193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273176"/>
            <a:ext cx="7750800" cy="46434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923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558390"/>
            <a:ext cx="7750800" cy="416092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88957" y="1227344"/>
            <a:ext cx="7750800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88957" y="5769119"/>
            <a:ext cx="7750800" cy="138499"/>
          </a:xfrm>
        </p:spPr>
        <p:txBody>
          <a:bodyPr wrap="square" anchor="b" anchorCtr="0">
            <a:noAutofit/>
          </a:bodyPr>
          <a:lstStyle>
            <a:lvl1pPr>
              <a:defRPr sz="900" i="1"/>
            </a:lvl1pPr>
          </a:lstStyle>
          <a:p>
            <a:pPr lvl="0"/>
            <a:r>
              <a:rPr lang="en-US" dirty="0" smtClean="0"/>
              <a:t>Click to insert footnote / sour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8356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558390"/>
            <a:ext cx="3814032" cy="416092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88957" y="1227344"/>
            <a:ext cx="3814032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88957" y="5778114"/>
            <a:ext cx="7750800" cy="138499"/>
          </a:xfrm>
        </p:spPr>
        <p:txBody>
          <a:bodyPr wrap="square" anchor="b" anchorCtr="0">
            <a:noAutofit/>
          </a:bodyPr>
          <a:lstStyle>
            <a:lvl1pPr>
              <a:defRPr sz="900" i="1"/>
            </a:lvl1pPr>
          </a:lstStyle>
          <a:p>
            <a:pPr lvl="0"/>
            <a:r>
              <a:rPr lang="en-US" dirty="0" smtClean="0"/>
              <a:t>Click to insert footnote / sourc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33955" y="1558390"/>
            <a:ext cx="3814032" cy="416092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633955" y="1227344"/>
            <a:ext cx="3814032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884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8500" y="99213"/>
            <a:ext cx="684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20" hasCustomPrompt="1"/>
          </p:nvPr>
        </p:nvSpPr>
        <p:spPr>
          <a:xfrm>
            <a:off x="698500" y="1273175"/>
            <a:ext cx="3796481" cy="46359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651506" y="1273174"/>
            <a:ext cx="3796481" cy="22291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>
          <a:xfrm>
            <a:off x="4651506" y="3679951"/>
            <a:ext cx="3796481" cy="22291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5236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NTEN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8500" y="99213"/>
            <a:ext cx="684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20" hasCustomPrompt="1"/>
          </p:nvPr>
        </p:nvSpPr>
        <p:spPr>
          <a:xfrm>
            <a:off x="698500" y="1273174"/>
            <a:ext cx="7749487" cy="227228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24" hasCustomPrompt="1"/>
          </p:nvPr>
        </p:nvSpPr>
        <p:spPr>
          <a:xfrm>
            <a:off x="698500" y="3721174"/>
            <a:ext cx="2484000" cy="219543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3330920" y="3721174"/>
            <a:ext cx="2484000" cy="219543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5963341" y="3721174"/>
            <a:ext cx="2484000" cy="219543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7191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NTEN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8500" y="99213"/>
            <a:ext cx="684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24" hasCustomPrompt="1"/>
          </p:nvPr>
        </p:nvSpPr>
        <p:spPr>
          <a:xfrm>
            <a:off x="698500" y="3660476"/>
            <a:ext cx="2484000" cy="22561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3330920" y="3660476"/>
            <a:ext cx="2484000" cy="22561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5963341" y="3660476"/>
            <a:ext cx="2484000" cy="22561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7" hasCustomPrompt="1"/>
          </p:nvPr>
        </p:nvSpPr>
        <p:spPr>
          <a:xfrm>
            <a:off x="698500" y="1269638"/>
            <a:ext cx="2484000" cy="22561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3330920" y="1269638"/>
            <a:ext cx="2484000" cy="22561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5963341" y="1269638"/>
            <a:ext cx="2484000" cy="22561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7601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558390"/>
            <a:ext cx="3814032" cy="435822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88957" y="1227344"/>
            <a:ext cx="3814032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651506" y="1273173"/>
            <a:ext cx="3796481" cy="22647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23" hasCustomPrompt="1"/>
          </p:nvPr>
        </p:nvSpPr>
        <p:spPr>
          <a:xfrm>
            <a:off x="4651506" y="3651848"/>
            <a:ext cx="3796481" cy="22647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9073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558390"/>
            <a:ext cx="5030356" cy="435822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88957" y="1227344"/>
            <a:ext cx="5030356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5900468" y="1273174"/>
            <a:ext cx="2547519" cy="464343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586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17631" y="1558390"/>
            <a:ext cx="5030356" cy="435822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417631" y="1227344"/>
            <a:ext cx="5030356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688957" y="1273174"/>
            <a:ext cx="2547519" cy="464343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2324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0677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213274" y="3369574"/>
            <a:ext cx="2880000" cy="677261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ZA" sz="2300" b="1" i="1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ZA" dirty="0" smtClean="0"/>
              <a:t>Click to insert sub-title</a:t>
            </a:r>
            <a:endParaRPr lang="en-ZA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-5452" y="0"/>
            <a:ext cx="4520302" cy="68579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213274" y="2343169"/>
            <a:ext cx="2880000" cy="1026405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70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insert divid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745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8500" y="2881222"/>
            <a:ext cx="7749487" cy="3035391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688957" y="1273174"/>
            <a:ext cx="7767656" cy="1444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9207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8500" y="1273175"/>
            <a:ext cx="7749487" cy="25914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688957" y="4015266"/>
            <a:ext cx="7767656" cy="19013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7459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8500" y="3355675"/>
            <a:ext cx="3787236" cy="256093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688957" y="1273174"/>
            <a:ext cx="7767656" cy="19013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22" hasCustomPrompt="1"/>
          </p:nvPr>
        </p:nvSpPr>
        <p:spPr>
          <a:xfrm>
            <a:off x="4669377" y="3355675"/>
            <a:ext cx="3787236" cy="256093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778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8500" y="1273176"/>
            <a:ext cx="3787236" cy="260871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688957" y="4015266"/>
            <a:ext cx="7767656" cy="19013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22" hasCustomPrompt="1"/>
          </p:nvPr>
        </p:nvSpPr>
        <p:spPr>
          <a:xfrm>
            <a:off x="4669377" y="1273176"/>
            <a:ext cx="3787236" cy="260871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811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CONTENT SLIDE 1 COLUMN">
    <p:bg>
      <p:bgPr>
        <a:solidFill>
          <a:srgbClr val="FFCB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1701" t="20675" r="2153" b="21544"/>
          <a:stretch/>
        </p:blipFill>
        <p:spPr>
          <a:xfrm>
            <a:off x="8385175" y="193675"/>
            <a:ext cx="561975" cy="55245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0" y="1681843"/>
            <a:ext cx="6535057" cy="4604656"/>
          </a:xfrm>
        </p:spPr>
        <p:txBody>
          <a:bodyPr/>
          <a:lstStyle>
            <a:lvl1pPr>
              <a:defRPr sz="4400" b="1" i="1"/>
            </a:lvl1pPr>
          </a:lstStyle>
          <a:p>
            <a:pPr lvl="0"/>
            <a:r>
              <a:rPr lang="en-US" dirty="0" smtClean="0"/>
              <a:t>Click to insert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1721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ONTENT SLIDE 1 COLUM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37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273176"/>
            <a:ext cx="7750800" cy="46434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4052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558391"/>
            <a:ext cx="7750800" cy="41436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88957" y="1227344"/>
            <a:ext cx="7750800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88957" y="5778114"/>
            <a:ext cx="7750800" cy="138499"/>
          </a:xfrm>
        </p:spPr>
        <p:txBody>
          <a:bodyPr wrap="square" anchor="b" anchorCtr="0">
            <a:noAutofit/>
          </a:bodyPr>
          <a:lstStyle>
            <a:lvl1pPr>
              <a:defRPr sz="900" i="1"/>
            </a:lvl1pPr>
          </a:lstStyle>
          <a:p>
            <a:pPr lvl="0"/>
            <a:r>
              <a:rPr lang="en-US" dirty="0" smtClean="0"/>
              <a:t>Click to insert footnote / sour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485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558390"/>
            <a:ext cx="3814032" cy="4083285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88957" y="1227344"/>
            <a:ext cx="3814032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88957" y="5769488"/>
            <a:ext cx="7750800" cy="138499"/>
          </a:xfrm>
        </p:spPr>
        <p:txBody>
          <a:bodyPr wrap="square" anchor="b" anchorCtr="0">
            <a:noAutofit/>
          </a:bodyPr>
          <a:lstStyle>
            <a:lvl1pPr>
              <a:defRPr sz="900" i="1"/>
            </a:lvl1pPr>
          </a:lstStyle>
          <a:p>
            <a:pPr lvl="0"/>
            <a:r>
              <a:rPr lang="en-US" dirty="0" smtClean="0"/>
              <a:t>Click to insert footnote / sourc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33955" y="1558390"/>
            <a:ext cx="3814032" cy="4083285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633955" y="1227344"/>
            <a:ext cx="3814032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867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8500" y="99213"/>
            <a:ext cx="684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20" hasCustomPrompt="1"/>
          </p:nvPr>
        </p:nvSpPr>
        <p:spPr>
          <a:xfrm>
            <a:off x="698500" y="1273174"/>
            <a:ext cx="3796481" cy="464343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651506" y="1273174"/>
            <a:ext cx="3796481" cy="22848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>
          <a:xfrm>
            <a:off x="4651506" y="3631722"/>
            <a:ext cx="3796481" cy="22848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6662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8530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9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213274" y="3369574"/>
            <a:ext cx="2880000" cy="677261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ZA" sz="2300" b="1" i="1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ZA" dirty="0" smtClean="0"/>
              <a:t>Click to insert sub-title</a:t>
            </a:r>
            <a:endParaRPr lang="en-ZA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-5452" y="0"/>
            <a:ext cx="4520302" cy="68579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213274" y="2343169"/>
            <a:ext cx="2880000" cy="1026405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70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insert divid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92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NTEN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8500" y="99213"/>
            <a:ext cx="684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20" hasCustomPrompt="1"/>
          </p:nvPr>
        </p:nvSpPr>
        <p:spPr>
          <a:xfrm>
            <a:off x="698500" y="1273174"/>
            <a:ext cx="7749487" cy="226365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24" hasCustomPrompt="1"/>
          </p:nvPr>
        </p:nvSpPr>
        <p:spPr>
          <a:xfrm>
            <a:off x="698500" y="3674853"/>
            <a:ext cx="2484000" cy="22417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3330920" y="3674853"/>
            <a:ext cx="2484000" cy="22417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5963341" y="3674853"/>
            <a:ext cx="2484000" cy="22417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41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NTEN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9874" y="99213"/>
            <a:ext cx="684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24" hasCustomPrompt="1"/>
          </p:nvPr>
        </p:nvSpPr>
        <p:spPr>
          <a:xfrm>
            <a:off x="698500" y="3661583"/>
            <a:ext cx="2484000" cy="22550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3330920" y="3661583"/>
            <a:ext cx="2484000" cy="22550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5963341" y="3661583"/>
            <a:ext cx="2484000" cy="22550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7" hasCustomPrompt="1"/>
          </p:nvPr>
        </p:nvSpPr>
        <p:spPr>
          <a:xfrm>
            <a:off x="698500" y="1269639"/>
            <a:ext cx="2484000" cy="22550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3330920" y="1269639"/>
            <a:ext cx="2484000" cy="22550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5963341" y="1269639"/>
            <a:ext cx="2484000" cy="22550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3913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558390"/>
            <a:ext cx="3814032" cy="435822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88957" y="1227344"/>
            <a:ext cx="3814032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651506" y="1273174"/>
            <a:ext cx="3796481" cy="2322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23" hasCustomPrompt="1"/>
          </p:nvPr>
        </p:nvSpPr>
        <p:spPr>
          <a:xfrm>
            <a:off x="4651506" y="3755365"/>
            <a:ext cx="3796481" cy="21612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6754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558390"/>
            <a:ext cx="5030356" cy="472811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88957" y="1227344"/>
            <a:ext cx="5030356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5900468" y="1273174"/>
            <a:ext cx="2547519" cy="50133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9485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17631" y="1558390"/>
            <a:ext cx="5030356" cy="435822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417631" y="1227344"/>
            <a:ext cx="5030356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688957" y="1273174"/>
            <a:ext cx="2547519" cy="4621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9290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8500" y="2881222"/>
            <a:ext cx="7749487" cy="3035391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688957" y="1273174"/>
            <a:ext cx="7767656" cy="1444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3201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8500" y="1273175"/>
            <a:ext cx="7749487" cy="2600085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688957" y="4015266"/>
            <a:ext cx="7767656" cy="19013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2586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8500" y="3355675"/>
            <a:ext cx="3787236" cy="256093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688957" y="1273174"/>
            <a:ext cx="7767656" cy="19013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22" hasCustomPrompt="1"/>
          </p:nvPr>
        </p:nvSpPr>
        <p:spPr>
          <a:xfrm>
            <a:off x="4669377" y="3355675"/>
            <a:ext cx="3787236" cy="256093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519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8500" y="1273175"/>
            <a:ext cx="3787236" cy="2651844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688957" y="4015266"/>
            <a:ext cx="7767656" cy="19013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22" hasCustomPrompt="1"/>
          </p:nvPr>
        </p:nvSpPr>
        <p:spPr>
          <a:xfrm>
            <a:off x="4669377" y="1273175"/>
            <a:ext cx="3787236" cy="2651844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910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ONTENT SLIDE 1 COLUM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416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03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82099" y="6158194"/>
            <a:ext cx="2880000" cy="21544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ZA" sz="1900" b="1" i="1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ZA" dirty="0" smtClean="0"/>
              <a:t>Click to insert date</a:t>
            </a:r>
            <a:endParaRPr lang="en-ZA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-5452" y="1012371"/>
            <a:ext cx="9149452" cy="41229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682099" y="5339444"/>
            <a:ext cx="2880000" cy="73249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0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insert presentation nam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3496787" y="318861"/>
            <a:ext cx="5086350" cy="595313"/>
          </a:xfrm>
        </p:spPr>
        <p:txBody>
          <a:bodyPr/>
          <a:lstStyle>
            <a:lvl1pPr algn="r">
              <a:defRPr sz="2700" b="1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insert Head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349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273176"/>
            <a:ext cx="7750800" cy="4539795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6264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558391"/>
            <a:ext cx="7750800" cy="415661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88957" y="1227344"/>
            <a:ext cx="7750800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88957" y="5715001"/>
            <a:ext cx="7750800" cy="138499"/>
          </a:xfrm>
        </p:spPr>
        <p:txBody>
          <a:bodyPr wrap="square" anchor="b" anchorCtr="0">
            <a:noAutofit/>
          </a:bodyPr>
          <a:lstStyle>
            <a:lvl1pPr>
              <a:defRPr sz="900" i="1"/>
            </a:lvl1pPr>
          </a:lstStyle>
          <a:p>
            <a:pPr lvl="0"/>
            <a:r>
              <a:rPr lang="en-US" dirty="0" smtClean="0"/>
              <a:t>Click to insert footnote / sour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8127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558390"/>
            <a:ext cx="3814032" cy="418110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88957" y="1227344"/>
            <a:ext cx="3814032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88957" y="5755822"/>
            <a:ext cx="7750800" cy="138499"/>
          </a:xfrm>
        </p:spPr>
        <p:txBody>
          <a:bodyPr wrap="square" anchor="b" anchorCtr="0">
            <a:noAutofit/>
          </a:bodyPr>
          <a:lstStyle>
            <a:lvl1pPr>
              <a:defRPr sz="900" i="1"/>
            </a:lvl1pPr>
          </a:lstStyle>
          <a:p>
            <a:pPr lvl="0"/>
            <a:r>
              <a:rPr lang="en-US" dirty="0" smtClean="0"/>
              <a:t>Click to insert footnote / sourc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33955" y="1558390"/>
            <a:ext cx="3814032" cy="418110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633955" y="1227344"/>
            <a:ext cx="3814032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188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8500" y="99213"/>
            <a:ext cx="684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20" hasCustomPrompt="1"/>
          </p:nvPr>
        </p:nvSpPr>
        <p:spPr>
          <a:xfrm>
            <a:off x="698500" y="1273174"/>
            <a:ext cx="3796481" cy="448100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651506" y="1273173"/>
            <a:ext cx="3796481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>
          <a:xfrm>
            <a:off x="4651506" y="3580485"/>
            <a:ext cx="3796481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3216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NTEN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8500" y="99213"/>
            <a:ext cx="684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20" hasCustomPrompt="1"/>
          </p:nvPr>
        </p:nvSpPr>
        <p:spPr>
          <a:xfrm>
            <a:off x="698500" y="1273174"/>
            <a:ext cx="7749487" cy="206601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24" hasCustomPrompt="1"/>
          </p:nvPr>
        </p:nvSpPr>
        <p:spPr>
          <a:xfrm>
            <a:off x="698500" y="3495858"/>
            <a:ext cx="2484000" cy="23043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3330920" y="3495858"/>
            <a:ext cx="2484000" cy="23043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5963341" y="3495858"/>
            <a:ext cx="2484000" cy="23043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6653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NTEN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8500" y="99213"/>
            <a:ext cx="684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24" hasCustomPrompt="1"/>
          </p:nvPr>
        </p:nvSpPr>
        <p:spPr>
          <a:xfrm>
            <a:off x="698500" y="3598454"/>
            <a:ext cx="2484000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3330920" y="3598454"/>
            <a:ext cx="2484000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5963341" y="3598454"/>
            <a:ext cx="2484000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7" hasCustomPrompt="1"/>
          </p:nvPr>
        </p:nvSpPr>
        <p:spPr>
          <a:xfrm>
            <a:off x="698500" y="1269639"/>
            <a:ext cx="2484000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3330920" y="1269639"/>
            <a:ext cx="2484000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5963341" y="1269639"/>
            <a:ext cx="2484000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4680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273176"/>
            <a:ext cx="7750800" cy="4539795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46127" y="6124427"/>
            <a:ext cx="4253242" cy="553998"/>
          </a:xfrm>
        </p:spPr>
        <p:txBody>
          <a:bodyPr wrap="square">
            <a:spAutoFit/>
          </a:bodyPr>
          <a:lstStyle>
            <a:lvl1pPr algn="r">
              <a:defRPr lang="en-US" sz="3600" b="1" i="1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 algn="r"/>
            <a:r>
              <a:rPr lang="en-US" dirty="0" smtClean="0"/>
              <a:t>Project Name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5673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558391"/>
            <a:ext cx="7750800" cy="415661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88957" y="1227344"/>
            <a:ext cx="7750800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88957" y="5715001"/>
            <a:ext cx="7750800" cy="138499"/>
          </a:xfrm>
        </p:spPr>
        <p:txBody>
          <a:bodyPr wrap="square" anchor="b" anchorCtr="0">
            <a:noAutofit/>
          </a:bodyPr>
          <a:lstStyle>
            <a:lvl1pPr>
              <a:defRPr sz="900" i="1"/>
            </a:lvl1pPr>
          </a:lstStyle>
          <a:p>
            <a:pPr lvl="0"/>
            <a:r>
              <a:rPr lang="en-US" dirty="0" smtClean="0"/>
              <a:t>Click to insert footnote / source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46127" y="6124427"/>
            <a:ext cx="4253242" cy="553998"/>
          </a:xfrm>
        </p:spPr>
        <p:txBody>
          <a:bodyPr wrap="square">
            <a:spAutoFit/>
          </a:bodyPr>
          <a:lstStyle>
            <a:lvl1pPr algn="r">
              <a:defRPr lang="en-US" sz="3600" b="1" i="1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 algn="r"/>
            <a:r>
              <a:rPr lang="en-US" dirty="0" smtClean="0"/>
              <a:t>Project Name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7700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558390"/>
            <a:ext cx="3814032" cy="418110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88957" y="1227344"/>
            <a:ext cx="3814032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88957" y="5755822"/>
            <a:ext cx="7750800" cy="138499"/>
          </a:xfrm>
        </p:spPr>
        <p:txBody>
          <a:bodyPr wrap="square" anchor="b" anchorCtr="0">
            <a:noAutofit/>
          </a:bodyPr>
          <a:lstStyle>
            <a:lvl1pPr>
              <a:defRPr sz="900" i="1"/>
            </a:lvl1pPr>
          </a:lstStyle>
          <a:p>
            <a:pPr lvl="0"/>
            <a:r>
              <a:rPr lang="en-US" dirty="0" smtClean="0"/>
              <a:t>Click to insert footnote / sourc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33955" y="1558390"/>
            <a:ext cx="3814032" cy="418110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633955" y="1227344"/>
            <a:ext cx="3814032" cy="246988"/>
          </a:xfrm>
        </p:spPr>
        <p:txBody>
          <a:bodyPr>
            <a:noAutofit/>
          </a:bodyPr>
          <a:lstStyle>
            <a:lvl1pPr>
              <a:defRPr sz="1900" b="1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insert slide sub-title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46127" y="6124427"/>
            <a:ext cx="4253242" cy="553998"/>
          </a:xfrm>
        </p:spPr>
        <p:txBody>
          <a:bodyPr wrap="square">
            <a:spAutoFit/>
          </a:bodyPr>
          <a:lstStyle>
            <a:lvl1pPr algn="r">
              <a:defRPr lang="en-US" sz="3600" b="1" i="1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 algn="r"/>
            <a:r>
              <a:rPr lang="en-US" dirty="0" smtClean="0"/>
              <a:t>Project Name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887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8500" y="99213"/>
            <a:ext cx="684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20" hasCustomPrompt="1"/>
          </p:nvPr>
        </p:nvSpPr>
        <p:spPr>
          <a:xfrm>
            <a:off x="698500" y="1273174"/>
            <a:ext cx="3796481" cy="448100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651506" y="1273173"/>
            <a:ext cx="3796481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>
          <a:xfrm>
            <a:off x="4651506" y="3580485"/>
            <a:ext cx="3796481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46127" y="6124427"/>
            <a:ext cx="4253242" cy="553998"/>
          </a:xfrm>
        </p:spPr>
        <p:txBody>
          <a:bodyPr wrap="square">
            <a:spAutoFit/>
          </a:bodyPr>
          <a:lstStyle>
            <a:lvl1pPr algn="r">
              <a:defRPr lang="en-US" sz="3600" b="1" i="1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 algn="r"/>
            <a:r>
              <a:rPr lang="en-US" dirty="0" smtClean="0"/>
              <a:t>Project Name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36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9528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0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82099" y="6158194"/>
            <a:ext cx="2880000" cy="21544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ZA" sz="1900" b="1" i="1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ZA" dirty="0" smtClean="0"/>
              <a:t>Click to insert date</a:t>
            </a:r>
            <a:endParaRPr lang="en-ZA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-5452" y="1012371"/>
            <a:ext cx="9149452" cy="41229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682099" y="5339444"/>
            <a:ext cx="2880000" cy="73249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0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insert presentation nam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3496787" y="318861"/>
            <a:ext cx="5086350" cy="595313"/>
          </a:xfrm>
        </p:spPr>
        <p:txBody>
          <a:bodyPr/>
          <a:lstStyle>
            <a:lvl1pPr algn="r">
              <a:defRPr sz="2700" b="1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insert Head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6038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NTEN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8500" y="99213"/>
            <a:ext cx="684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20" hasCustomPrompt="1"/>
          </p:nvPr>
        </p:nvSpPr>
        <p:spPr>
          <a:xfrm>
            <a:off x="698500" y="1273174"/>
            <a:ext cx="7749487" cy="206601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24" hasCustomPrompt="1"/>
          </p:nvPr>
        </p:nvSpPr>
        <p:spPr>
          <a:xfrm>
            <a:off x="698500" y="3495858"/>
            <a:ext cx="2484000" cy="23043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3330920" y="3495858"/>
            <a:ext cx="2484000" cy="23043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5963341" y="3495858"/>
            <a:ext cx="2484000" cy="23043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46127" y="6124427"/>
            <a:ext cx="4253242" cy="553998"/>
          </a:xfrm>
        </p:spPr>
        <p:txBody>
          <a:bodyPr wrap="square">
            <a:spAutoFit/>
          </a:bodyPr>
          <a:lstStyle>
            <a:lvl1pPr algn="r">
              <a:defRPr lang="en-US" sz="3600" b="1" i="1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 algn="r"/>
            <a:r>
              <a:rPr lang="en-US" dirty="0" smtClean="0"/>
              <a:t>Project Name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2016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NTEN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8500" y="99213"/>
            <a:ext cx="684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24" hasCustomPrompt="1"/>
          </p:nvPr>
        </p:nvSpPr>
        <p:spPr>
          <a:xfrm>
            <a:off x="698500" y="3598454"/>
            <a:ext cx="2484000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3330920" y="3598454"/>
            <a:ext cx="2484000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5963341" y="3598454"/>
            <a:ext cx="2484000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7" hasCustomPrompt="1"/>
          </p:nvPr>
        </p:nvSpPr>
        <p:spPr>
          <a:xfrm>
            <a:off x="698500" y="1269639"/>
            <a:ext cx="2484000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3330920" y="1269639"/>
            <a:ext cx="2484000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5963341" y="1269639"/>
            <a:ext cx="2484000" cy="21736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46127" y="6124427"/>
            <a:ext cx="4253242" cy="553998"/>
          </a:xfrm>
        </p:spPr>
        <p:txBody>
          <a:bodyPr wrap="square">
            <a:spAutoFit/>
          </a:bodyPr>
          <a:lstStyle>
            <a:lvl1pPr algn="r">
              <a:defRPr lang="en-US" sz="3600" b="1" i="1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 algn="r"/>
            <a:r>
              <a:rPr lang="en-US" dirty="0" smtClean="0"/>
              <a:t>Project Name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395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74167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2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682099" y="5339444"/>
            <a:ext cx="2880000" cy="73249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0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insert presentation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682099" y="6158194"/>
            <a:ext cx="2880000" cy="21544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ZA" sz="1900" b="1" i="1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ZA" dirty="0" smtClean="0"/>
              <a:t>Click to insert date</a:t>
            </a:r>
            <a:endParaRPr lang="en-ZA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-5452" y="1012371"/>
            <a:ext cx="9149452" cy="41148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7886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085"/>
          <a:stretch/>
        </p:blipFill>
        <p:spPr>
          <a:xfrm>
            <a:off x="0" y="966158"/>
            <a:ext cx="9144000" cy="5891574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74859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3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82099" y="6158194"/>
            <a:ext cx="2880000" cy="21544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ZA" sz="1900" b="1" i="1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ZA" dirty="0" smtClean="0"/>
              <a:t>Click to insert date</a:t>
            </a:r>
            <a:endParaRPr lang="en-ZA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682099" y="5339444"/>
            <a:ext cx="2880000" cy="73249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0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insert presentation na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665747" y="215122"/>
            <a:ext cx="5064125" cy="621641"/>
          </a:xfrm>
        </p:spPr>
        <p:txBody>
          <a:bodyPr/>
          <a:lstStyle>
            <a:lvl1pPr algn="r">
              <a:defRPr sz="4000" b="1" i="1" baseline="0"/>
            </a:lvl1pPr>
          </a:lstStyle>
          <a:p>
            <a:pPr lvl="0"/>
            <a:r>
              <a:rPr lang="en-US" dirty="0" smtClean="0"/>
              <a:t>Project Name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9535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29575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82099" y="6158194"/>
            <a:ext cx="2880000" cy="21544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ZA" sz="1900" b="1" i="1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ZA" dirty="0" smtClean="0"/>
              <a:t>Click to insert date</a:t>
            </a:r>
            <a:endParaRPr lang="en-ZA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-5452" y="1012371"/>
            <a:ext cx="9149452" cy="41229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682099" y="5339444"/>
            <a:ext cx="2880000" cy="73249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0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insert presentation nam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3496787" y="318861"/>
            <a:ext cx="5086350" cy="595313"/>
          </a:xfrm>
        </p:spPr>
        <p:txBody>
          <a:bodyPr/>
          <a:lstStyle>
            <a:lvl1pPr algn="r">
              <a:defRPr sz="2700" b="1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insert Head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4021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198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82099" y="6158194"/>
            <a:ext cx="2880000" cy="21544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ZA" sz="1900" b="1" i="1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ZA" dirty="0" smtClean="0"/>
              <a:t>Click to insert date</a:t>
            </a:r>
            <a:endParaRPr lang="en-ZA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-5452" y="1012371"/>
            <a:ext cx="9149452" cy="41229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insert imag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682099" y="5339444"/>
            <a:ext cx="2880000" cy="732490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00" baseline="0">
                <a:solidFill>
                  <a:schemeClr val="tx1"/>
                </a:solidFill>
                <a:latin typeface="+mj-lt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insert presentation nam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3496787" y="318861"/>
            <a:ext cx="5086350" cy="595313"/>
          </a:xfrm>
        </p:spPr>
        <p:txBody>
          <a:bodyPr/>
          <a:lstStyle>
            <a:lvl1pPr algn="r">
              <a:defRPr sz="2700" b="1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insert Head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1674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tags" Target="../tags/tag4.xml"/><Relationship Id="rId35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tags" Target="../tags/tag38.xml"/><Relationship Id="rId3" Type="http://schemas.openxmlformats.org/officeDocument/2006/relationships/slideLayout" Target="../slideLayouts/slideLayout28.xml"/><Relationship Id="rId21" Type="http://schemas.openxmlformats.org/officeDocument/2006/relationships/tags" Target="../tags/tag41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ags" Target="../tags/tag3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6" Type="http://schemas.openxmlformats.org/officeDocument/2006/relationships/vmlDrawing" Target="../drawings/vmlDrawing12.vml"/><Relationship Id="rId20" Type="http://schemas.openxmlformats.org/officeDocument/2006/relationships/tags" Target="../tags/tag40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oleObject" Target="../embeddings/oleObject12.bin"/><Relationship Id="rId5" Type="http://schemas.openxmlformats.org/officeDocument/2006/relationships/slideLayout" Target="../slideLayouts/slideLayout30.xml"/><Relationship Id="rId15" Type="http://schemas.openxmlformats.org/officeDocument/2006/relationships/theme" Target="../theme/theme2.xml"/><Relationship Id="rId23" Type="http://schemas.openxmlformats.org/officeDocument/2006/relationships/image" Target="../media/image13.jpg"/><Relationship Id="rId10" Type="http://schemas.openxmlformats.org/officeDocument/2006/relationships/slideLayout" Target="../slideLayouts/slideLayout35.xml"/><Relationship Id="rId19" Type="http://schemas.openxmlformats.org/officeDocument/2006/relationships/tags" Target="../tags/tag39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image" Target="../media/image1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.vml"/><Relationship Id="rId13" Type="http://schemas.openxmlformats.org/officeDocument/2006/relationships/tags" Target="../tags/tag46.xml"/><Relationship Id="rId3" Type="http://schemas.openxmlformats.org/officeDocument/2006/relationships/slideLayout" Target="../slideLayouts/slideLayout42.xml"/><Relationship Id="rId7" Type="http://schemas.openxmlformats.org/officeDocument/2006/relationships/theme" Target="../theme/theme3.xml"/><Relationship Id="rId12" Type="http://schemas.openxmlformats.org/officeDocument/2006/relationships/tags" Target="../tags/tag45.xml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ags" Target="../tags/tag44.xml"/><Relationship Id="rId5" Type="http://schemas.openxmlformats.org/officeDocument/2006/relationships/slideLayout" Target="../slideLayouts/slideLayout44.xml"/><Relationship Id="rId15" Type="http://schemas.openxmlformats.org/officeDocument/2006/relationships/oleObject" Target="../embeddings/oleObject13.bin"/><Relationship Id="rId10" Type="http://schemas.openxmlformats.org/officeDocument/2006/relationships/tags" Target="../tags/tag43.xml"/><Relationship Id="rId4" Type="http://schemas.openxmlformats.org/officeDocument/2006/relationships/slideLayout" Target="../slideLayouts/slideLayout43.xml"/><Relationship Id="rId9" Type="http://schemas.openxmlformats.org/officeDocument/2006/relationships/tags" Target="../tags/tag42.xml"/><Relationship Id="rId14" Type="http://schemas.openxmlformats.org/officeDocument/2006/relationships/image" Target="../media/image1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51.xml"/><Relationship Id="rId3" Type="http://schemas.openxmlformats.org/officeDocument/2006/relationships/slideLayout" Target="../slideLayouts/slideLayout48.xml"/><Relationship Id="rId7" Type="http://schemas.openxmlformats.org/officeDocument/2006/relationships/theme" Target="../theme/theme4.xml"/><Relationship Id="rId12" Type="http://schemas.openxmlformats.org/officeDocument/2006/relationships/tags" Target="../tags/tag50.x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tags" Target="../tags/tag49.xml"/><Relationship Id="rId5" Type="http://schemas.openxmlformats.org/officeDocument/2006/relationships/slideLayout" Target="../slideLayouts/slideLayout50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48.xml"/><Relationship Id="rId4" Type="http://schemas.openxmlformats.org/officeDocument/2006/relationships/slideLayout" Target="../slideLayouts/slideLayout49.xml"/><Relationship Id="rId9" Type="http://schemas.openxmlformats.org/officeDocument/2006/relationships/tags" Target="../tags/tag47.xml"/><Relationship Id="rId14" Type="http://schemas.openxmlformats.org/officeDocument/2006/relationships/image" Target="../media/image16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175" y="6098875"/>
            <a:ext cx="9140825" cy="7591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996"/>
            <a:ext cx="9144000" cy="956098"/>
          </a:xfrm>
          <a:prstGeom prst="rect">
            <a:avLst/>
          </a:prstGeom>
        </p:spPr>
      </p:pic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92299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693253" y="99638"/>
            <a:ext cx="7199915" cy="75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693253" y="1265458"/>
            <a:ext cx="7750175" cy="46511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9" name="TextBox 8"/>
          <p:cNvSpPr txBox="1"/>
          <p:nvPr>
            <p:custDataLst>
              <p:tags r:id="rId31"/>
            </p:custDataLst>
          </p:nvPr>
        </p:nvSpPr>
        <p:spPr>
          <a:xfrm>
            <a:off x="8215857" y="6575523"/>
            <a:ext cx="249382" cy="1077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700">
                <a:solidFill>
                  <a:srgbClr val="95D8DB"/>
                </a:solidFill>
                <a:effectLst/>
              </a:defRPr>
            </a:lvl1pPr>
          </a:lstStyle>
          <a:p>
            <a:pPr lvl="0" algn="r"/>
            <a:fld id="{3AD70FBD-5510-400F-86FC-486313CF9C36}" type="slidenum">
              <a:rPr lang="en-GB" sz="750" smtClean="0">
                <a:solidFill>
                  <a:schemeClr val="tx2"/>
                </a:solidFill>
              </a:rPr>
              <a:pPr lvl="0" algn="r"/>
              <a:t>‹#›</a:t>
            </a:fld>
            <a:endParaRPr lang="en-GB" sz="750" dirty="0" smtClean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>
            <p:custDataLst>
              <p:tags r:id="rId32"/>
            </p:custDataLst>
          </p:nvPr>
        </p:nvSpPr>
        <p:spPr>
          <a:xfrm>
            <a:off x="701879" y="6575523"/>
            <a:ext cx="6374628" cy="1077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ZA" sz="700" kern="1200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Copyright© 2013 Mobile Telephone Networks. All rights reserved</a:t>
            </a:r>
            <a:endParaRPr lang="en-GB" sz="700" dirty="0" smtClean="0">
              <a:solidFill>
                <a:schemeClr val="tx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64" r:id="rId2"/>
    <p:sldLayoutId id="2147483865" r:id="rId3"/>
    <p:sldLayoutId id="2147483863" r:id="rId4"/>
    <p:sldLayoutId id="2147483840" r:id="rId5"/>
    <p:sldLayoutId id="2147483764" r:id="rId6"/>
    <p:sldLayoutId id="2147483838" r:id="rId7"/>
    <p:sldLayoutId id="2147483837" r:id="rId8"/>
    <p:sldLayoutId id="2147483836" r:id="rId9"/>
    <p:sldLayoutId id="2147483813" r:id="rId10"/>
    <p:sldLayoutId id="2147483685" r:id="rId11"/>
    <p:sldLayoutId id="2147483803" r:id="rId12"/>
    <p:sldLayoutId id="2147483802" r:id="rId13"/>
    <p:sldLayoutId id="2147483775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  <p:sldLayoutId id="2147483812" r:id="rId23"/>
    <p:sldLayoutId id="2147483862" r:id="rId24"/>
    <p:sldLayoutId id="2147483815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lang="en-US" sz="2300" b="1" i="1" kern="1200" baseline="0" dirty="0">
          <a:solidFill>
            <a:schemeClr val="accent4"/>
          </a:solidFill>
          <a:latin typeface="+mn-lt"/>
          <a:ea typeface="+mj-ea"/>
          <a:cs typeface="Calibri"/>
        </a:defRPr>
      </a:lvl1pPr>
    </p:titleStyle>
    <p:bodyStyle>
      <a:lvl1pPr marL="0" indent="0" algn="l" defTabSz="457200" rtl="0" eaLnBrk="1" latinLnBrk="0" hangingPunct="1">
        <a:spcBef>
          <a:spcPts val="300"/>
        </a:spcBef>
        <a:spcAft>
          <a:spcPts val="300"/>
        </a:spcAft>
        <a:buClr>
          <a:srgbClr val="FF0000"/>
        </a:buClr>
        <a:buFont typeface="Wingdings" charset="2"/>
        <a:buNone/>
        <a:defRPr sz="1800" kern="1200">
          <a:solidFill>
            <a:schemeClr val="tx1"/>
          </a:solidFill>
          <a:latin typeface="+mj-lt"/>
          <a:ea typeface="+mn-ea"/>
          <a:cs typeface="Calibri"/>
        </a:defRPr>
      </a:lvl1pPr>
      <a:lvl2pPr marL="155575" indent="-155575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Calibri"/>
        </a:defRPr>
      </a:lvl2pPr>
      <a:lvl3pPr marL="361950" indent="-180975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itchFamily="34" charset="0"/>
        <a:buChar char="–"/>
        <a:defRPr sz="1800" kern="1200">
          <a:solidFill>
            <a:schemeClr val="tx1"/>
          </a:solidFill>
          <a:latin typeface="+mj-lt"/>
          <a:ea typeface="+mn-ea"/>
          <a:cs typeface="Calibri"/>
        </a:defRPr>
      </a:lvl3pPr>
      <a:lvl4pPr marL="534988" indent="-173038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Wingdings" charset="2"/>
        <a:buChar char="§"/>
        <a:defRPr sz="1800" kern="1200">
          <a:solidFill>
            <a:schemeClr val="tx1"/>
          </a:solidFill>
          <a:latin typeface="+mj-lt"/>
          <a:ea typeface="+mn-ea"/>
          <a:cs typeface="Calibri"/>
        </a:defRPr>
      </a:lvl4pPr>
      <a:lvl5pPr marL="498475" indent="-142875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Courier New" pitchFamily="49" charset="0"/>
        <a:buChar char="o"/>
        <a:tabLst/>
        <a:defRPr sz="1200" kern="1200">
          <a:solidFill>
            <a:srgbClr val="404F3C"/>
          </a:solidFill>
          <a:latin typeface="+mj-lt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3175"/>
            <a:ext cx="9144000" cy="673901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739"/>
          <a:stretch/>
        </p:blipFill>
        <p:spPr>
          <a:xfrm>
            <a:off x="3175" y="6707794"/>
            <a:ext cx="9144000" cy="152400"/>
          </a:xfrm>
          <a:prstGeom prst="rect">
            <a:avLst/>
          </a:prstGeom>
        </p:spPr>
      </p:pic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81947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693253" y="99638"/>
            <a:ext cx="7199915" cy="75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>
          <a:xfrm>
            <a:off x="693253" y="1265458"/>
            <a:ext cx="7750175" cy="50145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9" name="TextBox 8"/>
          <p:cNvSpPr txBox="1"/>
          <p:nvPr>
            <p:custDataLst>
              <p:tags r:id="rId20"/>
            </p:custDataLst>
          </p:nvPr>
        </p:nvSpPr>
        <p:spPr>
          <a:xfrm>
            <a:off x="8215857" y="6575523"/>
            <a:ext cx="249382" cy="1077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700">
                <a:solidFill>
                  <a:srgbClr val="95D8DB"/>
                </a:solidFill>
                <a:effectLst/>
              </a:defRPr>
            </a:lvl1pPr>
          </a:lstStyle>
          <a:p>
            <a:pPr lvl="0" algn="r"/>
            <a:fld id="{3AD70FBD-5510-400F-86FC-486313CF9C36}" type="slidenum">
              <a:rPr lang="en-GB" sz="750" smtClean="0">
                <a:solidFill>
                  <a:schemeClr val="tx2"/>
                </a:solidFill>
              </a:rPr>
              <a:pPr lvl="0" algn="r"/>
              <a:t>‹#›</a:t>
            </a:fld>
            <a:endParaRPr lang="en-GB" sz="750" dirty="0" smtClean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>
            <p:custDataLst>
              <p:tags r:id="rId21"/>
            </p:custDataLst>
          </p:nvPr>
        </p:nvSpPr>
        <p:spPr>
          <a:xfrm>
            <a:off x="701879" y="6575523"/>
            <a:ext cx="6374628" cy="1077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ZA" sz="700" kern="1200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Copyright© 2013 Mobile Telephone Networks. All rights reserved</a:t>
            </a:r>
            <a:endParaRPr lang="en-GB" sz="7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27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lang="en-US" sz="2300" b="1" i="1" kern="1200" baseline="0" dirty="0">
          <a:solidFill>
            <a:schemeClr val="accent4"/>
          </a:solidFill>
          <a:latin typeface="+mn-lt"/>
          <a:ea typeface="+mj-ea"/>
          <a:cs typeface="Calibri"/>
        </a:defRPr>
      </a:lvl1pPr>
    </p:titleStyle>
    <p:bodyStyle>
      <a:lvl1pPr marL="0" indent="0" algn="l" defTabSz="457200" rtl="0" eaLnBrk="1" latinLnBrk="0" hangingPunct="1">
        <a:spcBef>
          <a:spcPts val="300"/>
        </a:spcBef>
        <a:spcAft>
          <a:spcPts val="300"/>
        </a:spcAft>
        <a:buClr>
          <a:srgbClr val="FF0000"/>
        </a:buClr>
        <a:buFont typeface="Wingdings" charset="2"/>
        <a:buNone/>
        <a:defRPr sz="1800" kern="1200">
          <a:solidFill>
            <a:schemeClr val="tx1"/>
          </a:solidFill>
          <a:latin typeface="+mj-lt"/>
          <a:ea typeface="+mn-ea"/>
          <a:cs typeface="Calibri"/>
        </a:defRPr>
      </a:lvl1pPr>
      <a:lvl2pPr marL="155575" indent="-155575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Calibri"/>
        </a:defRPr>
      </a:lvl2pPr>
      <a:lvl3pPr marL="361950" indent="-180975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itchFamily="34" charset="0"/>
        <a:buChar char="–"/>
        <a:defRPr sz="1800" kern="1200">
          <a:solidFill>
            <a:schemeClr val="tx1"/>
          </a:solidFill>
          <a:latin typeface="+mj-lt"/>
          <a:ea typeface="+mn-ea"/>
          <a:cs typeface="Calibri"/>
        </a:defRPr>
      </a:lvl3pPr>
      <a:lvl4pPr marL="534988" indent="-173038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Wingdings" charset="2"/>
        <a:buChar char="§"/>
        <a:defRPr sz="1800" kern="1200">
          <a:solidFill>
            <a:schemeClr val="tx1"/>
          </a:solidFill>
          <a:latin typeface="+mj-lt"/>
          <a:ea typeface="+mn-ea"/>
          <a:cs typeface="Calibri"/>
        </a:defRPr>
      </a:lvl4pPr>
      <a:lvl5pPr marL="498475" indent="-142875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Courier New" pitchFamily="49" charset="0"/>
        <a:buChar char="o"/>
        <a:tabLst/>
        <a:defRPr sz="1200" kern="1200">
          <a:solidFill>
            <a:srgbClr val="404F3C"/>
          </a:solidFill>
          <a:latin typeface="+mj-lt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55070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93253" y="99638"/>
            <a:ext cx="7199915" cy="75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693253" y="1265458"/>
            <a:ext cx="7750175" cy="4547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9" name="TextBox 8"/>
          <p:cNvSpPr txBox="1"/>
          <p:nvPr>
            <p:custDataLst>
              <p:tags r:id="rId12"/>
            </p:custDataLst>
          </p:nvPr>
        </p:nvSpPr>
        <p:spPr>
          <a:xfrm>
            <a:off x="3398928" y="6575523"/>
            <a:ext cx="249382" cy="1077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700">
                <a:solidFill>
                  <a:srgbClr val="95D8DB"/>
                </a:solidFill>
                <a:effectLst/>
              </a:defRPr>
            </a:lvl1pPr>
          </a:lstStyle>
          <a:p>
            <a:pPr lvl="0" algn="r"/>
            <a:fld id="{3AD70FBD-5510-400F-86FC-486313CF9C36}" type="slidenum">
              <a:rPr lang="en-GB" sz="750" smtClean="0">
                <a:solidFill>
                  <a:schemeClr val="tx2"/>
                </a:solidFill>
              </a:rPr>
              <a:pPr lvl="0" algn="r"/>
              <a:t>‹#›</a:t>
            </a:fld>
            <a:endParaRPr lang="en-GB" sz="750" dirty="0" smtClean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>
            <p:custDataLst>
              <p:tags r:id="rId13"/>
            </p:custDataLst>
          </p:nvPr>
        </p:nvSpPr>
        <p:spPr>
          <a:xfrm>
            <a:off x="701879" y="6575523"/>
            <a:ext cx="6374628" cy="1077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ZA" sz="700" kern="1200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Copyright© 2013 Mobile Telephone Networks. All rights reserved</a:t>
            </a:r>
            <a:endParaRPr lang="en-GB" sz="7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290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lang="en-US" sz="2300" b="1" i="1" kern="1200" baseline="0" dirty="0">
          <a:solidFill>
            <a:schemeClr val="accent4"/>
          </a:solidFill>
          <a:latin typeface="+mn-lt"/>
          <a:ea typeface="+mj-ea"/>
          <a:cs typeface="Calibri"/>
        </a:defRPr>
      </a:lvl1pPr>
    </p:titleStyle>
    <p:bodyStyle>
      <a:lvl1pPr marL="0" indent="0" algn="l" defTabSz="457200" rtl="0" eaLnBrk="1" latinLnBrk="0" hangingPunct="1">
        <a:spcBef>
          <a:spcPts val="300"/>
        </a:spcBef>
        <a:spcAft>
          <a:spcPts val="300"/>
        </a:spcAft>
        <a:buClr>
          <a:srgbClr val="FF0000"/>
        </a:buClr>
        <a:buFont typeface="Wingdings" charset="2"/>
        <a:buNone/>
        <a:defRPr sz="1800" kern="1200">
          <a:solidFill>
            <a:schemeClr val="tx1"/>
          </a:solidFill>
          <a:latin typeface="+mj-lt"/>
          <a:ea typeface="+mn-ea"/>
          <a:cs typeface="Calibri"/>
        </a:defRPr>
      </a:lvl1pPr>
      <a:lvl2pPr marL="155575" indent="-155575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Calibri"/>
        </a:defRPr>
      </a:lvl2pPr>
      <a:lvl3pPr marL="361950" indent="-180975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itchFamily="34" charset="0"/>
        <a:buChar char="–"/>
        <a:defRPr sz="1800" kern="1200">
          <a:solidFill>
            <a:schemeClr val="tx1"/>
          </a:solidFill>
          <a:latin typeface="+mj-lt"/>
          <a:ea typeface="+mn-ea"/>
          <a:cs typeface="Calibri"/>
        </a:defRPr>
      </a:lvl3pPr>
      <a:lvl4pPr marL="534988" indent="-173038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Wingdings" charset="2"/>
        <a:buChar char="§"/>
        <a:defRPr sz="1800" kern="1200">
          <a:solidFill>
            <a:schemeClr val="tx1"/>
          </a:solidFill>
          <a:latin typeface="+mj-lt"/>
          <a:ea typeface="+mn-ea"/>
          <a:cs typeface="Calibri"/>
        </a:defRPr>
      </a:lvl4pPr>
      <a:lvl5pPr marL="498475" indent="-142875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Courier New" pitchFamily="49" charset="0"/>
        <a:buChar char="o"/>
        <a:tabLst/>
        <a:defRPr sz="1200" kern="1200">
          <a:solidFill>
            <a:srgbClr val="404F3C"/>
          </a:solidFill>
          <a:latin typeface="+mj-lt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5969479"/>
            <a:ext cx="9144000" cy="8882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5789"/>
          <a:stretch/>
        </p:blipFill>
        <p:spPr>
          <a:xfrm>
            <a:off x="0" y="268"/>
            <a:ext cx="9144000" cy="974517"/>
          </a:xfrm>
          <a:prstGeom prst="rect">
            <a:avLst/>
          </a:prstGeom>
        </p:spPr>
      </p:pic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607035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4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693253" y="99638"/>
            <a:ext cx="7199915" cy="75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693253" y="1265458"/>
            <a:ext cx="7750175" cy="4547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0" name="TextBox 9"/>
          <p:cNvSpPr txBox="1"/>
          <p:nvPr>
            <p:custDataLst>
              <p:tags r:id="rId12"/>
            </p:custDataLst>
          </p:nvPr>
        </p:nvSpPr>
        <p:spPr>
          <a:xfrm>
            <a:off x="701879" y="6575523"/>
            <a:ext cx="6374628" cy="1077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ZA" sz="700" kern="1200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Copyright© 2013 Mobile Telephone Networks. All rights reserved</a:t>
            </a:r>
            <a:endParaRPr lang="en-GB" sz="700" dirty="0" smtClean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>
            <p:custDataLst>
              <p:tags r:id="rId13"/>
            </p:custDataLst>
          </p:nvPr>
        </p:nvSpPr>
        <p:spPr>
          <a:xfrm>
            <a:off x="3398928" y="6575523"/>
            <a:ext cx="249382" cy="1077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700">
                <a:solidFill>
                  <a:srgbClr val="95D8DB"/>
                </a:solidFill>
                <a:effectLst/>
              </a:defRPr>
            </a:lvl1pPr>
          </a:lstStyle>
          <a:p>
            <a:pPr lvl="0" algn="r"/>
            <a:fld id="{3AD70FBD-5510-400F-86FC-486313CF9C36}" type="slidenum">
              <a:rPr lang="en-GB" sz="750" smtClean="0">
                <a:solidFill>
                  <a:schemeClr val="tx2"/>
                </a:solidFill>
              </a:rPr>
              <a:pPr lvl="0" algn="r"/>
              <a:t>‹#›</a:t>
            </a:fld>
            <a:endParaRPr lang="en-GB" sz="75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139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lang="en-US" sz="2300" b="1" i="1" kern="1200" baseline="0" dirty="0">
          <a:solidFill>
            <a:schemeClr val="accent4"/>
          </a:solidFill>
          <a:latin typeface="+mn-lt"/>
          <a:ea typeface="+mj-ea"/>
          <a:cs typeface="Calibri"/>
        </a:defRPr>
      </a:lvl1pPr>
    </p:titleStyle>
    <p:bodyStyle>
      <a:lvl1pPr marL="0" indent="0" algn="l" defTabSz="457200" rtl="0" eaLnBrk="1" latinLnBrk="0" hangingPunct="1">
        <a:spcBef>
          <a:spcPts val="300"/>
        </a:spcBef>
        <a:spcAft>
          <a:spcPts val="300"/>
        </a:spcAft>
        <a:buClr>
          <a:srgbClr val="FF0000"/>
        </a:buClr>
        <a:buFont typeface="Wingdings" charset="2"/>
        <a:buNone/>
        <a:defRPr sz="1800" kern="1200">
          <a:solidFill>
            <a:schemeClr val="tx1"/>
          </a:solidFill>
          <a:latin typeface="+mj-lt"/>
          <a:ea typeface="+mn-ea"/>
          <a:cs typeface="Calibri"/>
        </a:defRPr>
      </a:lvl1pPr>
      <a:lvl2pPr marL="155575" indent="-155575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Calibri"/>
        </a:defRPr>
      </a:lvl2pPr>
      <a:lvl3pPr marL="361950" indent="-180975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itchFamily="34" charset="0"/>
        <a:buChar char="–"/>
        <a:defRPr sz="1800" kern="1200">
          <a:solidFill>
            <a:schemeClr val="tx1"/>
          </a:solidFill>
          <a:latin typeface="+mj-lt"/>
          <a:ea typeface="+mn-ea"/>
          <a:cs typeface="Calibri"/>
        </a:defRPr>
      </a:lvl3pPr>
      <a:lvl4pPr marL="534988" indent="-173038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Wingdings" charset="2"/>
        <a:buChar char="§"/>
        <a:defRPr sz="1800" kern="1200">
          <a:solidFill>
            <a:schemeClr val="tx1"/>
          </a:solidFill>
          <a:latin typeface="+mj-lt"/>
          <a:ea typeface="+mn-ea"/>
          <a:cs typeface="Calibri"/>
        </a:defRPr>
      </a:lvl4pPr>
      <a:lvl5pPr marL="498475" indent="-142875" algn="l" defTabSz="45720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Courier New" pitchFamily="49" charset="0"/>
        <a:buChar char="o"/>
        <a:tabLst/>
        <a:defRPr sz="1200" kern="1200">
          <a:solidFill>
            <a:srgbClr val="404F3C"/>
          </a:solidFill>
          <a:latin typeface="+mj-lt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35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20.png"/><Relationship Id="rId7" Type="http://schemas.openxmlformats.org/officeDocument/2006/relationships/image" Target="../media/image24.jp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3.jpg"/><Relationship Id="rId5" Type="http://schemas.openxmlformats.org/officeDocument/2006/relationships/image" Target="../media/image22.jp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ZA" dirty="0" err="1" smtClean="0"/>
              <a:t>daBlaqChat</a:t>
            </a:r>
            <a:endParaRPr lang="en-Z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ZA" dirty="0" smtClean="0"/>
              <a:t>Instant Messaging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 smtClean="0"/>
              <a:t>03 June 2016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23023"/>
            <a:ext cx="9144000" cy="433016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00452"/>
            <a:ext cx="2032176" cy="2032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904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i="0" dirty="0" smtClean="0"/>
              <a:t>Flow Chart</a:t>
            </a:r>
            <a:endParaRPr lang="en-ZA" i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173" y="6068290"/>
            <a:ext cx="1533411" cy="101608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 smtClean="0"/>
              <a:t>Client Flow Chart</a:t>
            </a:r>
            <a:endParaRPr lang="en-ZA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709" y="1273176"/>
            <a:ext cx="1476581" cy="4258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560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i="0" dirty="0" smtClean="0"/>
              <a:t>Message Sequence Diagram</a:t>
            </a:r>
            <a:endParaRPr lang="en-ZA" i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173" y="6068290"/>
            <a:ext cx="1533411" cy="1016087"/>
          </a:xfrm>
          <a:prstGeom prst="rect">
            <a:avLst/>
          </a:prstGeom>
        </p:spPr>
      </p:pic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4246" y="1013402"/>
            <a:ext cx="4219632" cy="4643438"/>
          </a:xfrm>
        </p:spPr>
      </p:pic>
    </p:spTree>
    <p:extLst>
      <p:ext uri="{BB962C8B-B14F-4D97-AF65-F5344CB8AC3E}">
        <p14:creationId xmlns:p14="http://schemas.microsoft.com/office/powerpoint/2010/main" val="196662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i="0" dirty="0" smtClean="0"/>
              <a:t>Classes and Functions</a:t>
            </a:r>
            <a:endParaRPr lang="en-ZA" i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346" y="6068290"/>
            <a:ext cx="1533411" cy="1016087"/>
          </a:xfrm>
          <a:prstGeom prst="rect">
            <a:avLst/>
          </a:prstGeom>
        </p:spPr>
      </p:pic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636548" y="2081307"/>
            <a:ext cx="4457700" cy="217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720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i="0" dirty="0" err="1" smtClean="0"/>
              <a:t>daBlaqDemo</a:t>
            </a:r>
            <a:endParaRPr lang="en-ZA" i="0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2"/>
          <a:stretch/>
        </p:blipFill>
        <p:spPr>
          <a:xfrm>
            <a:off x="166256" y="1387776"/>
            <a:ext cx="8260772" cy="586509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346" y="6068290"/>
            <a:ext cx="1533411" cy="101608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3128" y="1079999"/>
            <a:ext cx="7200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 smtClean="0"/>
              <a:t>Step 1: </a:t>
            </a:r>
            <a:r>
              <a:rPr lang="en-ZA" sz="1400" dirty="0" smtClean="0"/>
              <a:t>Server running and waiting for clients to connect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55" y="2467854"/>
            <a:ext cx="3581900" cy="78115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321" y="2467854"/>
            <a:ext cx="3305636" cy="371527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3128" y="2130095"/>
            <a:ext cx="7200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 smtClean="0"/>
              <a:t>Step 2: </a:t>
            </a:r>
            <a:r>
              <a:rPr lang="en-ZA" sz="1400" dirty="0" smtClean="0"/>
              <a:t>Client runs application and connects to Server. Server accepts connection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3128" y="3205327"/>
            <a:ext cx="834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i="1" dirty="0" smtClean="0"/>
              <a:t>Client</a:t>
            </a:r>
            <a:endParaRPr lang="en-ZA" sz="1400" i="1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4495800" y="2777552"/>
            <a:ext cx="834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i="1" dirty="0" smtClean="0"/>
              <a:t>Server</a:t>
            </a:r>
            <a:endParaRPr lang="en-ZA" sz="1400" i="1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83128" y="3678709"/>
            <a:ext cx="7904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 smtClean="0"/>
              <a:t>Step 3: </a:t>
            </a:r>
            <a:r>
              <a:rPr lang="en-ZA" sz="1400" dirty="0" smtClean="0"/>
              <a:t>Additional clients connect to the Server. Connected clients are notified of new clients.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55" y="4030056"/>
            <a:ext cx="3734321" cy="115268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321" y="4030056"/>
            <a:ext cx="3096057" cy="75258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83128" y="5145927"/>
            <a:ext cx="834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i="1" dirty="0" smtClean="0"/>
              <a:t>Client</a:t>
            </a:r>
            <a:endParaRPr lang="en-ZA" sz="1400" i="1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4495800" y="4718152"/>
            <a:ext cx="834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i="1" dirty="0" smtClean="0"/>
              <a:t>Server</a:t>
            </a:r>
            <a:endParaRPr lang="en-ZA" sz="1400" i="1" dirty="0" smtClean="0"/>
          </a:p>
        </p:txBody>
      </p:sp>
    </p:spTree>
    <p:extLst>
      <p:ext uri="{BB962C8B-B14F-4D97-AF65-F5344CB8AC3E}">
        <p14:creationId xmlns:p14="http://schemas.microsoft.com/office/powerpoint/2010/main" val="2686456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i="0" dirty="0" err="1" smtClean="0"/>
              <a:t>daBlaqDemo</a:t>
            </a:r>
            <a:endParaRPr lang="en-ZA" i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346" y="6068290"/>
            <a:ext cx="1533411" cy="101608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3128" y="1079999"/>
            <a:ext cx="7200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 smtClean="0"/>
              <a:t>Step 4: </a:t>
            </a:r>
            <a:r>
              <a:rPr lang="en-ZA" sz="1400" dirty="0" smtClean="0"/>
              <a:t>Client (C1) sends message to other connected clients (C2): “</a:t>
            </a:r>
            <a:r>
              <a:rPr lang="en-ZA" sz="1400" i="1" dirty="0" smtClean="0"/>
              <a:t>test message 1.</a:t>
            </a:r>
            <a:r>
              <a:rPr lang="en-ZA" sz="1400" dirty="0" smtClean="0"/>
              <a:t>”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31619" y="2600860"/>
            <a:ext cx="87214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 smtClean="0"/>
              <a:t>Step 5</a:t>
            </a:r>
            <a:r>
              <a:rPr lang="en-ZA" sz="1400" b="1" dirty="0"/>
              <a:t>: : </a:t>
            </a:r>
            <a:r>
              <a:rPr lang="en-ZA" sz="1400" dirty="0"/>
              <a:t>Client (</a:t>
            </a:r>
            <a:r>
              <a:rPr lang="en-ZA" sz="1400" dirty="0" smtClean="0"/>
              <a:t>C2) replies to </a:t>
            </a:r>
            <a:r>
              <a:rPr lang="en-ZA" sz="1400" dirty="0"/>
              <a:t>other connected clients (</a:t>
            </a:r>
            <a:r>
              <a:rPr lang="en-ZA" sz="1400" dirty="0" smtClean="0"/>
              <a:t>C1): </a:t>
            </a:r>
            <a:r>
              <a:rPr lang="en-ZA" sz="1400" dirty="0"/>
              <a:t>“</a:t>
            </a:r>
            <a:r>
              <a:rPr lang="en-ZA" sz="1400" i="1" dirty="0"/>
              <a:t>test message </a:t>
            </a:r>
            <a:r>
              <a:rPr lang="en-ZA" sz="1400" i="1" dirty="0" smtClean="0"/>
              <a:t>2.</a:t>
            </a:r>
            <a:r>
              <a:rPr lang="en-ZA" sz="1400" dirty="0" smtClean="0"/>
              <a:t>” Client is </a:t>
            </a:r>
            <a:r>
              <a:rPr lang="en-ZA" sz="1400" b="1" dirty="0" smtClean="0"/>
              <a:t>notified</a:t>
            </a:r>
            <a:r>
              <a:rPr lang="en-ZA" sz="1400" dirty="0" smtClean="0"/>
              <a:t> of successful message delivery. Server relays and displays all messages.</a:t>
            </a:r>
            <a:endParaRPr lang="en-ZA" sz="1400" dirty="0"/>
          </a:p>
        </p:txBody>
      </p:sp>
      <p:sp>
        <p:nvSpPr>
          <p:cNvPr id="16" name="TextBox 15"/>
          <p:cNvSpPr txBox="1"/>
          <p:nvPr/>
        </p:nvSpPr>
        <p:spPr>
          <a:xfrm>
            <a:off x="3683578" y="5501488"/>
            <a:ext cx="834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i="1" dirty="0" smtClean="0"/>
              <a:t>Server</a:t>
            </a:r>
            <a:endParaRPr lang="en-ZA" sz="1400" i="1" dirty="0" smtClean="0"/>
          </a:p>
        </p:txBody>
      </p:sp>
      <p:pic>
        <p:nvPicPr>
          <p:cNvPr id="17" name="Content Placeholder 1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557" y="1427321"/>
            <a:ext cx="2353003" cy="609685"/>
          </a:xfr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77" y="1429325"/>
            <a:ext cx="2800741" cy="466790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817419" y="2014654"/>
            <a:ext cx="2123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i="1" dirty="0" smtClean="0"/>
              <a:t>Sending Client (C1)</a:t>
            </a:r>
            <a:endParaRPr lang="en-ZA" sz="1400" i="1" dirty="0" smtClean="0"/>
          </a:p>
        </p:txBody>
      </p:sp>
      <p:sp>
        <p:nvSpPr>
          <p:cNvPr id="20" name="TextBox 19"/>
          <p:cNvSpPr txBox="1"/>
          <p:nvPr/>
        </p:nvSpPr>
        <p:spPr>
          <a:xfrm>
            <a:off x="4288956" y="1876395"/>
            <a:ext cx="211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i="1" dirty="0" smtClean="0"/>
              <a:t>Receiving Client (C2)</a:t>
            </a:r>
            <a:endParaRPr lang="en-ZA" sz="1400" i="1" dirty="0" smtClean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212" y="3172731"/>
            <a:ext cx="2810267" cy="552527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619" y="3164132"/>
            <a:ext cx="2676899" cy="523948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888074" y="3697891"/>
            <a:ext cx="2123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i="1" dirty="0" smtClean="0"/>
              <a:t>Sending Client (C2)</a:t>
            </a:r>
            <a:endParaRPr lang="en-ZA" sz="1400" i="1" dirty="0" smtClean="0"/>
          </a:p>
        </p:txBody>
      </p:sp>
      <p:sp>
        <p:nvSpPr>
          <p:cNvPr id="24" name="TextBox 23"/>
          <p:cNvSpPr txBox="1"/>
          <p:nvPr/>
        </p:nvSpPr>
        <p:spPr>
          <a:xfrm>
            <a:off x="4442432" y="3671909"/>
            <a:ext cx="2111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i="1" dirty="0" smtClean="0"/>
              <a:t>Receiving Client (C1)</a:t>
            </a:r>
            <a:endParaRPr lang="en-ZA" sz="1400" i="1" dirty="0" smtClean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0646" y="4250418"/>
            <a:ext cx="3829584" cy="1228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214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i="0" dirty="0" err="1" smtClean="0"/>
              <a:t>daBlaqDemo</a:t>
            </a:r>
            <a:endParaRPr lang="en-ZA" i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346" y="6068290"/>
            <a:ext cx="1533411" cy="101608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3128" y="1079999"/>
            <a:ext cx="7200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 smtClean="0"/>
              <a:t>Step 6: </a:t>
            </a:r>
            <a:r>
              <a:rPr lang="en-ZA" sz="1400" dirty="0" smtClean="0"/>
              <a:t>Client enter keyword </a:t>
            </a:r>
            <a:r>
              <a:rPr lang="en-ZA" sz="1400" i="1" dirty="0" smtClean="0"/>
              <a:t>“exit” </a:t>
            </a:r>
            <a:r>
              <a:rPr lang="en-ZA" sz="1400" dirty="0" smtClean="0"/>
              <a:t>to leave the chat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77275" y="2049632"/>
            <a:ext cx="2123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i="1" dirty="0" smtClean="0"/>
              <a:t>Client</a:t>
            </a:r>
            <a:endParaRPr lang="en-ZA" sz="1400" i="1" dirty="0" smtClean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275" y="1512889"/>
            <a:ext cx="2717980" cy="536743"/>
          </a:xfrm>
        </p:spPr>
      </p:pic>
    </p:spTree>
    <p:extLst>
      <p:ext uri="{BB962C8B-B14F-4D97-AF65-F5344CB8AC3E}">
        <p14:creationId xmlns:p14="http://schemas.microsoft.com/office/powerpoint/2010/main" val="1660695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i="0" dirty="0" err="1" smtClean="0"/>
              <a:t>daBlaq</a:t>
            </a:r>
            <a:r>
              <a:rPr lang="en-ZA" i="0" dirty="0" smtClean="0"/>
              <a:t>-Future Work</a:t>
            </a:r>
            <a:endParaRPr lang="en-ZA" i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8957" y="1317712"/>
            <a:ext cx="7750800" cy="3923989"/>
          </a:xfrm>
        </p:spPr>
        <p:txBody>
          <a:bodyPr/>
          <a:lstStyle/>
          <a:p>
            <a:pPr algn="just">
              <a:buClrTx/>
            </a:pPr>
            <a:r>
              <a:rPr lang="en-ZA" dirty="0" smtClean="0"/>
              <a:t>Things that I would be able to do if I had more time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Implement a login structur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Function to request Users onlin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Integrate optimization features, upgradability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Implement online/offline notification ic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Keep </a:t>
            </a:r>
            <a:r>
              <a:rPr lang="en-ZA" dirty="0"/>
              <a:t>U</a:t>
            </a:r>
            <a:r>
              <a:rPr lang="en-ZA" dirty="0" smtClean="0"/>
              <a:t>sers directory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Ability to make private chats and send messages even when offlin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ZA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1731" y="6068290"/>
            <a:ext cx="1533411" cy="101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604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i="0" dirty="0" err="1" smtClean="0"/>
              <a:t>daBlaqCritical</a:t>
            </a:r>
            <a:r>
              <a:rPr lang="en-ZA" i="0" dirty="0" smtClean="0"/>
              <a:t> Analysis</a:t>
            </a:r>
            <a:endParaRPr lang="en-ZA" i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8957" y="1118602"/>
            <a:ext cx="7750800" cy="4949688"/>
          </a:xfrm>
        </p:spPr>
        <p:txBody>
          <a:bodyPr/>
          <a:lstStyle/>
          <a:p>
            <a:pPr algn="just"/>
            <a:r>
              <a:rPr lang="en-ZA" b="1" dirty="0" smtClean="0"/>
              <a:t>Strengths</a:t>
            </a:r>
            <a:r>
              <a:rPr lang="en-ZA" dirty="0" smtClean="0"/>
              <a:t>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Simple code structur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Easy to implement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Uses select function to handle multiple client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Uses TCP, end-point of a connection is guaranteed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Messages are sent successfully, no failed deliveri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Message resources are not wasted</a:t>
            </a:r>
          </a:p>
          <a:p>
            <a:pPr algn="just"/>
            <a:r>
              <a:rPr lang="en-ZA" b="1" dirty="0" smtClean="0"/>
              <a:t>Weaknesses</a:t>
            </a:r>
            <a:r>
              <a:rPr lang="en-ZA" dirty="0" smtClean="0"/>
              <a:t>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Only one class was used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Client application is a script, but allows restructuring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The code has poor extensibility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Has a few bugs, but can be fixed</a:t>
            </a:r>
          </a:p>
          <a:p>
            <a:pPr algn="just"/>
            <a:r>
              <a:rPr lang="en-ZA" b="1" dirty="0" smtClean="0"/>
              <a:t>Trade-Offs</a:t>
            </a:r>
            <a:r>
              <a:rPr lang="en-ZA" dirty="0" smtClean="0"/>
              <a:t>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dirty="0" smtClean="0"/>
              <a:t>Used simple code instead of classes and functions (Client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346" y="6068290"/>
            <a:ext cx="1533411" cy="101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054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i="0" dirty="0" err="1" smtClean="0"/>
              <a:t>daBlaqConclusion</a:t>
            </a:r>
            <a:endParaRPr lang="en-ZA" i="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/>
              <a:t>A</a:t>
            </a:r>
            <a:r>
              <a:rPr lang="en-ZA" dirty="0" smtClean="0"/>
              <a:t> simple basic chat server that allows users to communicate and exchange information over the internet.</a:t>
            </a:r>
          </a:p>
          <a:p>
            <a:endParaRPr lang="en-ZA" dirty="0"/>
          </a:p>
          <a:p>
            <a:r>
              <a:rPr lang="en-ZA" dirty="0" smtClean="0"/>
              <a:t>Programmed using Python language, Server application under 40 lines of code and Client application under 53 lines of code, both interacting as one application unit to form a Chat Application running on a Linux CLI.</a:t>
            </a:r>
          </a:p>
          <a:p>
            <a:endParaRPr lang="en-ZA" dirty="0"/>
          </a:p>
          <a:p>
            <a:endParaRPr lang="en-ZA" dirty="0" smtClean="0"/>
          </a:p>
          <a:p>
            <a:endParaRPr lang="en-ZA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173" y="6068290"/>
            <a:ext cx="1533411" cy="10160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5492" y="2565765"/>
            <a:ext cx="3897730" cy="3350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83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Contents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/>
              <a:t>Instant Messaging </a:t>
            </a:r>
            <a:r>
              <a:rPr lang="en-ZA" dirty="0" smtClean="0"/>
              <a:t>Ove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/>
              <a:t>Chat </a:t>
            </a:r>
            <a:r>
              <a:rPr lang="en-ZA" dirty="0" smtClean="0"/>
              <a:t>Applicat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err="1" smtClean="0"/>
              <a:t>daBlaqObjectives</a:t>
            </a:r>
            <a:endParaRPr lang="en-ZA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err="1" smtClean="0"/>
              <a:t>daBlaqChat</a:t>
            </a:r>
            <a:endParaRPr lang="en-ZA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err="1" smtClean="0"/>
              <a:t>daBlaqArchitecture</a:t>
            </a:r>
            <a:endParaRPr lang="en-ZA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err="1" smtClean="0"/>
              <a:t>daBlaqFlow</a:t>
            </a:r>
            <a:r>
              <a:rPr lang="en-ZA" dirty="0" smtClean="0"/>
              <a:t> Cha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err="1" smtClean="0"/>
              <a:t>daBlaqMessage</a:t>
            </a:r>
            <a:r>
              <a:rPr lang="en-ZA" dirty="0" smtClean="0"/>
              <a:t> </a:t>
            </a:r>
            <a:r>
              <a:rPr lang="en-ZA" dirty="0"/>
              <a:t>Sequence </a:t>
            </a:r>
            <a:r>
              <a:rPr lang="en-ZA" dirty="0" smtClean="0"/>
              <a:t>Dia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err="1" smtClean="0"/>
              <a:t>daBlaqClass</a:t>
            </a:r>
            <a:r>
              <a:rPr lang="en-ZA" dirty="0" smtClean="0"/>
              <a:t> Dia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err="1" smtClean="0"/>
              <a:t>daBlaqDemo</a:t>
            </a:r>
            <a:endParaRPr lang="en-ZA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err="1" smtClean="0"/>
              <a:t>daBlaqFuture</a:t>
            </a:r>
            <a:r>
              <a:rPr lang="en-ZA" dirty="0" smtClean="0"/>
              <a:t>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err="1"/>
              <a:t>daBlaqCritical</a:t>
            </a:r>
            <a:r>
              <a:rPr lang="en-ZA" dirty="0"/>
              <a:t> </a:t>
            </a:r>
            <a:r>
              <a:rPr lang="en-ZA" dirty="0" smtClean="0"/>
              <a:t>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err="1" smtClean="0"/>
              <a:t>daBlaqConclusion</a:t>
            </a:r>
            <a:endParaRPr lang="en-ZA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173" y="6068290"/>
            <a:ext cx="1533411" cy="101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889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Instant Messaging Overview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 smtClean="0"/>
              <a:t>Instant Messaging is a type of online chat which offers real-time text transmission over the internet.</a:t>
            </a:r>
          </a:p>
          <a:p>
            <a:endParaRPr lang="en-ZA" dirty="0" smtClean="0"/>
          </a:p>
          <a:p>
            <a:r>
              <a:rPr lang="en-ZA" dirty="0" smtClean="0"/>
              <a:t>The earliest chat applications where the Internet Relay Chat, which was an application layer protocol that facilitates communication in a form of text, and  another well known chat application was ICQ.</a:t>
            </a:r>
          </a:p>
          <a:p>
            <a:endParaRPr lang="en-ZA" dirty="0" smtClean="0"/>
          </a:p>
          <a:p>
            <a:r>
              <a:rPr lang="en-ZA" dirty="0" smtClean="0"/>
              <a:t>Linux chat applications without a Graphical User Interface are, </a:t>
            </a:r>
            <a:r>
              <a:rPr lang="en-ZA" dirty="0" err="1" smtClean="0"/>
              <a:t>Konversation</a:t>
            </a:r>
            <a:r>
              <a:rPr lang="en-ZA" dirty="0" smtClean="0"/>
              <a:t>, </a:t>
            </a:r>
            <a:r>
              <a:rPr lang="en-ZA" dirty="0" err="1" smtClean="0"/>
              <a:t>Xchat</a:t>
            </a:r>
            <a:r>
              <a:rPr lang="en-ZA" dirty="0" smtClean="0"/>
              <a:t>, </a:t>
            </a:r>
            <a:r>
              <a:rPr lang="en-ZA" dirty="0" err="1" smtClean="0"/>
              <a:t>Chatzilla</a:t>
            </a:r>
            <a:r>
              <a:rPr lang="en-ZA" dirty="0" smtClean="0"/>
              <a:t> and </a:t>
            </a:r>
            <a:r>
              <a:rPr lang="en-ZA" dirty="0" err="1" smtClean="0"/>
              <a:t>irssi</a:t>
            </a:r>
            <a:r>
              <a:rPr lang="en-ZA" dirty="0" smtClean="0"/>
              <a:t>.</a:t>
            </a:r>
          </a:p>
          <a:p>
            <a:endParaRPr lang="en-ZA" dirty="0" smtClean="0"/>
          </a:p>
          <a:p>
            <a:r>
              <a:rPr lang="en-ZA" dirty="0" smtClean="0"/>
              <a:t>The following application is a Linux CLI and is capable of communicating across multiple access networks - </a:t>
            </a:r>
            <a:r>
              <a:rPr lang="en-ZA" dirty="0" err="1" smtClean="0"/>
              <a:t>daBlaqChat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173" y="6068290"/>
            <a:ext cx="1533411" cy="101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3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i="0" dirty="0" smtClean="0"/>
              <a:t>Chat Applications</a:t>
            </a:r>
            <a:endParaRPr lang="en-ZA" i="0" dirty="0"/>
          </a:p>
        </p:txBody>
      </p:sp>
      <p:pic>
        <p:nvPicPr>
          <p:cNvPr id="12" name="Picture Placeholder 11"/>
          <p:cNvPicPr>
            <a:picLocks noGrp="1" noChangeAspect="1"/>
          </p:cNvPicPr>
          <p:nvPr>
            <p:ph type="pic" sz="quarter" idx="2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" r="73"/>
          <a:stretch>
            <a:fillRect/>
          </a:stretch>
        </p:blipFill>
        <p:spPr>
          <a:xfrm>
            <a:off x="0" y="3660475"/>
            <a:ext cx="2484000" cy="2256137"/>
          </a:xfrm>
        </p:spPr>
      </p:pic>
      <p:pic>
        <p:nvPicPr>
          <p:cNvPr id="13" name="Picture Placeholder 12"/>
          <p:cNvPicPr>
            <a:picLocks noGrp="1" noChangeAspect="1"/>
          </p:cNvPicPr>
          <p:nvPr>
            <p:ph type="pic" sz="quarter" idx="2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6" r="72"/>
          <a:stretch/>
        </p:blipFill>
        <p:spPr>
          <a:xfrm>
            <a:off x="57474" y="976793"/>
            <a:ext cx="4727863" cy="2148043"/>
          </a:xfrm>
        </p:spPr>
      </p:pic>
      <p:pic>
        <p:nvPicPr>
          <p:cNvPr id="17" name="Picture Placeholder 16"/>
          <p:cNvPicPr>
            <a:picLocks noGrp="1" noChangeAspect="1"/>
          </p:cNvPicPr>
          <p:nvPr>
            <p:ph type="pic" sz="quarter" idx="26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13" t="-2562" r="-3791" b="-6413"/>
          <a:stretch/>
        </p:blipFill>
        <p:spPr>
          <a:xfrm>
            <a:off x="3287227" y="4665712"/>
            <a:ext cx="1662545" cy="883227"/>
          </a:xfrm>
        </p:spPr>
      </p:pic>
      <p:pic>
        <p:nvPicPr>
          <p:cNvPr id="3" name="Picture Placeholder 2"/>
          <p:cNvPicPr>
            <a:picLocks noGrp="1" noChangeAspect="1"/>
          </p:cNvPicPr>
          <p:nvPr>
            <p:ph type="pic" sz="quarter" idx="27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658" t="-10003" r="-11057" b="-7888"/>
          <a:stretch/>
        </p:blipFill>
        <p:spPr>
          <a:xfrm>
            <a:off x="6240534" y="4166754"/>
            <a:ext cx="1974273" cy="1714500"/>
          </a:xfrm>
        </p:spPr>
      </p:pic>
      <p:pic>
        <p:nvPicPr>
          <p:cNvPr id="16" name="Picture Placeholder 15"/>
          <p:cNvPicPr>
            <a:picLocks noGrp="1" noChangeAspect="1"/>
          </p:cNvPicPr>
          <p:nvPr>
            <p:ph type="pic" sz="quarter" idx="28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" t="-7572" r="-2941" b="-6065"/>
          <a:stretch/>
        </p:blipFill>
        <p:spPr>
          <a:xfrm>
            <a:off x="3214491" y="3369529"/>
            <a:ext cx="1808018" cy="779318"/>
          </a:xfrm>
        </p:spPr>
      </p:pic>
      <p:pic>
        <p:nvPicPr>
          <p:cNvPr id="18" name="Picture Placeholder 17"/>
          <p:cNvPicPr>
            <a:picLocks noGrp="1" noChangeAspect="1"/>
          </p:cNvPicPr>
          <p:nvPr>
            <p:ph type="pic" sz="quarter" idx="29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1" b="4601"/>
          <a:stretch>
            <a:fillRect/>
          </a:stretch>
        </p:blipFill>
        <p:spPr>
          <a:xfrm>
            <a:off x="5985452" y="976793"/>
            <a:ext cx="2484438" cy="2255838"/>
          </a:xfr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173" y="6068290"/>
            <a:ext cx="1533411" cy="101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342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err="1" smtClean="0"/>
              <a:t>daBlaqObjectives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 smtClean="0"/>
              <a:t>To build a network focused and aware Instant Messaging Application, that will run on Linux CLI and be capable of communicating across multiple access networks.</a:t>
            </a:r>
          </a:p>
          <a:p>
            <a:r>
              <a:rPr lang="en-US" dirty="0" smtClean="0"/>
              <a:t>The Instant Message app would </a:t>
            </a:r>
            <a:r>
              <a:rPr lang="en-US" dirty="0"/>
              <a:t>have the following mandatory features</a:t>
            </a:r>
            <a:r>
              <a:rPr lang="en-US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essaging </a:t>
            </a:r>
            <a:r>
              <a:rPr lang="en-US" dirty="0"/>
              <a:t>between two </a:t>
            </a:r>
            <a:r>
              <a:rPr lang="en-US" dirty="0" smtClean="0"/>
              <a:t>cli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uto-discovery </a:t>
            </a:r>
            <a:r>
              <a:rPr lang="en-US" dirty="0"/>
              <a:t>on a closed </a:t>
            </a:r>
            <a:r>
              <a:rPr lang="en-US" dirty="0" smtClean="0"/>
              <a:t>net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tocol </a:t>
            </a:r>
            <a:r>
              <a:rPr lang="en-US" dirty="0"/>
              <a:t>selection based on access network (fixed - UDP or wireless - </a:t>
            </a:r>
            <a:r>
              <a:rPr lang="en-US" dirty="0" smtClean="0"/>
              <a:t>TC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ignaling </a:t>
            </a:r>
            <a:r>
              <a:rPr lang="en-US" dirty="0"/>
              <a:t>reduction </a:t>
            </a:r>
            <a:r>
              <a:rPr lang="en-US" dirty="0" smtClean="0"/>
              <a:t>techniq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 </a:t>
            </a:r>
            <a:r>
              <a:rPr lang="en-US" dirty="0"/>
              <a:t>failed </a:t>
            </a:r>
            <a:r>
              <a:rPr lang="en-US" dirty="0" smtClean="0"/>
              <a:t>deliv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ffline </a:t>
            </a:r>
            <a:r>
              <a:rPr lang="en-US" dirty="0"/>
              <a:t>and Online notifications on chat </a:t>
            </a:r>
            <a:r>
              <a:rPr lang="en-US" dirty="0" smtClean="0"/>
              <a:t>initi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ust </a:t>
            </a:r>
            <a:r>
              <a:rPr lang="en-US" dirty="0"/>
              <a:t>either use a client-server or peer to peer architecture (you need to justify your choice</a:t>
            </a:r>
            <a:r>
              <a:rPr lang="en-US" dirty="0" smtClean="0"/>
              <a:t>)</a:t>
            </a:r>
            <a:endParaRPr lang="en-Z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173" y="6068290"/>
            <a:ext cx="1533411" cy="101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790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err="1" smtClean="0"/>
              <a:t>daBlaqChat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 err="1" smtClean="0"/>
              <a:t>daBlaqChat</a:t>
            </a:r>
            <a:r>
              <a:rPr lang="en-ZA" dirty="0" smtClean="0"/>
              <a:t> is an open source chat application coded using Python language in socket programming. It is a Client-Server based model whereby clients communicate through the server. Two separate applications were programmed, (1) Server application and (2) Client application.</a:t>
            </a:r>
          </a:p>
          <a:p>
            <a:r>
              <a:rPr lang="en-US" dirty="0" err="1" smtClean="0"/>
              <a:t>daBlaqChat</a:t>
            </a:r>
            <a:r>
              <a:rPr lang="en-US" dirty="0" smtClean="0"/>
              <a:t> ca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essage </a:t>
            </a:r>
            <a:r>
              <a:rPr lang="en-US" dirty="0"/>
              <a:t>between two </a:t>
            </a:r>
            <a:r>
              <a:rPr lang="en-US" dirty="0" smtClean="0"/>
              <a:t>clients and more through the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reate a socket and listen on it forever </a:t>
            </a:r>
            <a:r>
              <a:rPr lang="en-US" dirty="0"/>
              <a:t>on a closed </a:t>
            </a:r>
            <a:r>
              <a:rPr lang="en-US" dirty="0" smtClean="0"/>
              <a:t>net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/>
              <a:t>Accept new connections requesting to connect on the server’s socket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TCP stream socket to transmit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/>
              <a:t>Broadcast messages to other clients except the sender – prevent wasteful resources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 </a:t>
            </a:r>
            <a:r>
              <a:rPr lang="en-US" dirty="0"/>
              <a:t>failed </a:t>
            </a:r>
            <a:r>
              <a:rPr lang="en-US" dirty="0" smtClean="0"/>
              <a:t>deliv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line </a:t>
            </a:r>
            <a:r>
              <a:rPr lang="en-US" dirty="0"/>
              <a:t>notifications on chat </a:t>
            </a:r>
            <a:r>
              <a:rPr lang="en-US" dirty="0" smtClean="0"/>
              <a:t>initiatio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173" y="6068290"/>
            <a:ext cx="1533411" cy="101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366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i="0" dirty="0" err="1" smtClean="0"/>
              <a:t>daBlaqArchitecture</a:t>
            </a:r>
            <a:endParaRPr lang="en-ZA" i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173" y="6068290"/>
            <a:ext cx="1533411" cy="1016087"/>
          </a:xfrm>
          <a:prstGeom prst="rect">
            <a:avLst/>
          </a:prstGeom>
        </p:spPr>
      </p:pic>
      <p:pic>
        <p:nvPicPr>
          <p:cNvPr id="10" name="Content Placeholder 9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6372" y="1273175"/>
            <a:ext cx="6315380" cy="4643438"/>
          </a:xfrm>
        </p:spPr>
      </p:pic>
    </p:spTree>
    <p:extLst>
      <p:ext uri="{BB962C8B-B14F-4D97-AF65-F5344CB8AC3E}">
        <p14:creationId xmlns:p14="http://schemas.microsoft.com/office/powerpoint/2010/main" val="3100169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i="0" dirty="0" err="1" smtClean="0"/>
              <a:t>daBlaqArchitecture</a:t>
            </a:r>
            <a:endParaRPr lang="en-ZA" i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173" y="6068290"/>
            <a:ext cx="1533411" cy="1016087"/>
          </a:xfrm>
          <a:prstGeom prst="rect">
            <a:avLst/>
          </a:prstGeom>
        </p:spPr>
      </p:pic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75" y="2659528"/>
            <a:ext cx="7750175" cy="1870731"/>
          </a:xfrm>
        </p:spPr>
      </p:pic>
    </p:spTree>
    <p:extLst>
      <p:ext uri="{BB962C8B-B14F-4D97-AF65-F5344CB8AC3E}">
        <p14:creationId xmlns:p14="http://schemas.microsoft.com/office/powerpoint/2010/main" val="3308583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i="0" dirty="0" smtClean="0"/>
              <a:t>Flow Chart</a:t>
            </a:r>
            <a:endParaRPr lang="en-ZA" i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173" y="6068290"/>
            <a:ext cx="1533411" cy="101608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 smtClean="0"/>
              <a:t>Server Flow Chart</a:t>
            </a:r>
            <a:endParaRPr lang="en-Z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9814" y="955964"/>
            <a:ext cx="2124371" cy="5112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669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9_D4xDikG5UFpsCw8Q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2CtphhkC0rwCvBlsY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9_D4xDikG5UFpsCw8Q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2CtphhkC0rwCvBlsY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9_D4xDikG5UFpsCw8Q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2CtphhkC0rwCvBlsY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9_D4xDikG5UFpsCw8Q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2CtphhkC0rwCvBlsY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2CtphhkC0rwCvBlsY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9_D4xDikG5UFpsCw8Q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9_D4xDikG5UFpsCw8Q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2CtphhkC0rwCvBlsY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9_D4xDikG5UFpsCw8Q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5VCrs1Okav71NeVu2jm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2CtphhkC0rwCvBlsY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9_D4xDikG5UFpsCw8Q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2CtphhkC0rwCvBlsY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2CtphhkC0rwCvBlsY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9_D4xDikG5UFpsCw8Q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5VCrs1Okav71NeVu2j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v_REajDEaXLrZ7Svsf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v_REajDEaXLrZ7SvsfJ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fEJfYYdEqKkU5gT08dB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fEJfYYdEqKkU5gT08dB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5VCrs1Okav71NeVu2jm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v_REajDEaXLrZ7Svsf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fEJfYYdEqKkU5gT08dB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fEJfYYdEqKkU5gT08dB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5VCrs1Okav71NeVu2jm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v_REajDEaXLrZ7Svsf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fEJfYYdEqKkU5gT08dB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fEJfYYdEqKkU5gT08dB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fEJfYYdEqKkU5gT08d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fEJfYYdEqKkU5gT08d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9_D4xDikG5UFpsCw8Q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2CtphhkC0rwCvBlsYiQ"/>
</p:tagLst>
</file>

<file path=ppt/theme/theme1.xml><?xml version="1.0" encoding="utf-8"?>
<a:theme xmlns:a="http://schemas.openxmlformats.org/drawingml/2006/main" name="MTN PPT Template_Master">
  <a:themeElements>
    <a:clrScheme name="MTN">
      <a:dk1>
        <a:srgbClr val="212120"/>
      </a:dk1>
      <a:lt1>
        <a:srgbClr val="FFFFFF"/>
      </a:lt1>
      <a:dk2>
        <a:srgbClr val="7B7B77"/>
      </a:dk2>
      <a:lt2>
        <a:srgbClr val="CDCDCD"/>
      </a:lt2>
      <a:accent1>
        <a:srgbClr val="006281"/>
      </a:accent1>
      <a:accent2>
        <a:srgbClr val="676767"/>
      </a:accent2>
      <a:accent3>
        <a:srgbClr val="FDC426"/>
      </a:accent3>
      <a:accent4>
        <a:srgbClr val="E5322C"/>
      </a:accent4>
      <a:accent5>
        <a:srgbClr val="0095C4"/>
      </a:accent5>
      <a:accent6>
        <a:srgbClr val="9F9F9F"/>
      </a:accent6>
      <a:hlink>
        <a:srgbClr val="1F497D"/>
      </a:hlink>
      <a:folHlink>
        <a:srgbClr val="0095C4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Internet Solutions_PPT_28.05.13_WA">
  <a:themeElements>
    <a:clrScheme name="MTN">
      <a:dk1>
        <a:srgbClr val="212120"/>
      </a:dk1>
      <a:lt1>
        <a:srgbClr val="FFFFFF"/>
      </a:lt1>
      <a:dk2>
        <a:srgbClr val="7B7B77"/>
      </a:dk2>
      <a:lt2>
        <a:srgbClr val="CDCDCD"/>
      </a:lt2>
      <a:accent1>
        <a:srgbClr val="006281"/>
      </a:accent1>
      <a:accent2>
        <a:srgbClr val="676767"/>
      </a:accent2>
      <a:accent3>
        <a:srgbClr val="FDC426"/>
      </a:accent3>
      <a:accent4>
        <a:srgbClr val="E5322C"/>
      </a:accent4>
      <a:accent5>
        <a:srgbClr val="0095C4"/>
      </a:accent5>
      <a:accent6>
        <a:srgbClr val="9F9F9F"/>
      </a:accent6>
      <a:hlink>
        <a:srgbClr val="1F497D"/>
      </a:hlink>
      <a:folHlink>
        <a:srgbClr val="0095C4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Internet Solutions_PPT_28.05.13_WA">
  <a:themeElements>
    <a:clrScheme name="MTN">
      <a:dk1>
        <a:srgbClr val="212120"/>
      </a:dk1>
      <a:lt1>
        <a:srgbClr val="FFFFFF"/>
      </a:lt1>
      <a:dk2>
        <a:srgbClr val="7B7B77"/>
      </a:dk2>
      <a:lt2>
        <a:srgbClr val="CDCDCD"/>
      </a:lt2>
      <a:accent1>
        <a:srgbClr val="006281"/>
      </a:accent1>
      <a:accent2>
        <a:srgbClr val="676767"/>
      </a:accent2>
      <a:accent3>
        <a:srgbClr val="FDC426"/>
      </a:accent3>
      <a:accent4>
        <a:srgbClr val="E5322C"/>
      </a:accent4>
      <a:accent5>
        <a:srgbClr val="0095C4"/>
      </a:accent5>
      <a:accent6>
        <a:srgbClr val="9F9F9F"/>
      </a:accent6>
      <a:hlink>
        <a:srgbClr val="1F497D"/>
      </a:hlink>
      <a:folHlink>
        <a:srgbClr val="0095C4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3_Internet Solutions_PPT_28.05.13_WA">
  <a:themeElements>
    <a:clrScheme name="MTN">
      <a:dk1>
        <a:srgbClr val="212120"/>
      </a:dk1>
      <a:lt1>
        <a:srgbClr val="FFFFFF"/>
      </a:lt1>
      <a:dk2>
        <a:srgbClr val="7B7B77"/>
      </a:dk2>
      <a:lt2>
        <a:srgbClr val="CDCDCD"/>
      </a:lt2>
      <a:accent1>
        <a:srgbClr val="006281"/>
      </a:accent1>
      <a:accent2>
        <a:srgbClr val="676767"/>
      </a:accent2>
      <a:accent3>
        <a:srgbClr val="FDC426"/>
      </a:accent3>
      <a:accent4>
        <a:srgbClr val="E5322C"/>
      </a:accent4>
      <a:accent5>
        <a:srgbClr val="0095C4"/>
      </a:accent5>
      <a:accent6>
        <a:srgbClr val="9F9F9F"/>
      </a:accent6>
      <a:hlink>
        <a:srgbClr val="1F497D"/>
      </a:hlink>
      <a:folHlink>
        <a:srgbClr val="0095C4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Dockeyword xmlns="50c8d59b-d6bb-41c9-8e15-fbabe89884a5" xsi:nil="true"/>
    <Department xmlns="50c8d59b-d6bb-41c9-8e15-fbabe89884a5" xsi:nil="true"/>
    <Docauthor xmlns="50c8d59b-d6bb-41c9-8e15-fbabe89884a5" xsi:nil="true"/>
    <Doctype xmlns="50c8d59b-d6bb-41c9-8e15-fbabe89884a5" xsi:nil="true"/>
    <Docdate xmlns="50c8d59b-d6bb-41c9-8e15-fbabe89884a5" xsi:nil="true"/>
    <Doctitle xmlns="50c8d59b-d6bb-41c9-8e15-fbabe89884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6E89325A5B6348AE31AC8EC91E5E53" ma:contentTypeVersion="6" ma:contentTypeDescription="Create a new document." ma:contentTypeScope="" ma:versionID="7924aba35de9a623936d70f6d9707dad">
  <xsd:schema xmlns:xsd="http://www.w3.org/2001/XMLSchema" xmlns:xs="http://www.w3.org/2001/XMLSchema" xmlns:p="http://schemas.microsoft.com/office/2006/metadata/properties" xmlns:ns2="50c8d59b-d6bb-41c9-8e15-fbabe89884a5" targetNamespace="http://schemas.microsoft.com/office/2006/metadata/properties" ma:root="true" ma:fieldsID="c6c709a82ef1406f8369617689e7772a" ns2:_="">
    <xsd:import namespace="50c8d59b-d6bb-41c9-8e15-fbabe89884a5"/>
    <xsd:element name="properties">
      <xsd:complexType>
        <xsd:sequence>
          <xsd:element name="documentManagement">
            <xsd:complexType>
              <xsd:all>
                <xsd:element ref="ns2:Doctitle" minOccurs="0"/>
                <xsd:element ref="ns2:Docauthor" minOccurs="0"/>
                <xsd:element ref="ns2:Department" minOccurs="0"/>
                <xsd:element ref="ns2:Doctype" minOccurs="0"/>
                <xsd:element ref="ns2:Docdate" minOccurs="0"/>
                <xsd:element ref="ns2:Dockeywor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8d59b-d6bb-41c9-8e15-fbabe89884a5" elementFormDefault="qualified">
    <xsd:import namespace="http://schemas.microsoft.com/office/2006/documentManagement/types"/>
    <xsd:import namespace="http://schemas.microsoft.com/office/infopath/2007/PartnerControls"/>
    <xsd:element name="Doctitle" ma:index="8" nillable="true" ma:displayName="Doctitle" ma:internalName="Doctitle">
      <xsd:simpleType>
        <xsd:restriction base="dms:Text">
          <xsd:maxLength value="255"/>
        </xsd:restriction>
      </xsd:simpleType>
    </xsd:element>
    <xsd:element name="Docauthor" ma:index="9" nillable="true" ma:displayName="Docauthor" ma:internalName="Docauthor">
      <xsd:simpleType>
        <xsd:restriction base="dms:Note">
          <xsd:maxLength value="255"/>
        </xsd:restriction>
      </xsd:simpleType>
    </xsd:element>
    <xsd:element name="Department" ma:index="10" nillable="true" ma:displayName="Department" ma:internalName="Department">
      <xsd:simpleType>
        <xsd:restriction base="dms:Text">
          <xsd:maxLength value="255"/>
        </xsd:restriction>
      </xsd:simpleType>
    </xsd:element>
    <xsd:element name="Doctype" ma:index="11" nillable="true" ma:displayName="Doctype" ma:internalName="Doctype">
      <xsd:simpleType>
        <xsd:restriction base="dms:Text">
          <xsd:maxLength value="255"/>
        </xsd:restriction>
      </xsd:simpleType>
    </xsd:element>
    <xsd:element name="Docdate" ma:index="12" nillable="true" ma:displayName="Docdate" ma:internalName="Docdate">
      <xsd:simpleType>
        <xsd:restriction base="dms:Text">
          <xsd:maxLength value="255"/>
        </xsd:restriction>
      </xsd:simpleType>
    </xsd:element>
    <xsd:element name="Dockeyword" ma:index="13" nillable="true" ma:displayName="Dockeyword" ma:internalName="Dockeyword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B0C82DC-C32D-49D6-A363-E6248051418F}">
  <ds:schemaRefs>
    <ds:schemaRef ds:uri="http://schemas.microsoft.com/office/infopath/2007/PartnerControls"/>
    <ds:schemaRef ds:uri="http://purl.org/dc/dcmitype/"/>
    <ds:schemaRef ds:uri="http://www.w3.org/XML/1998/namespace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50c8d59b-d6bb-41c9-8e15-fbabe89884a5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FF9C3462-A2EC-4A76-A9CC-586087C704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A987882-732B-4CDA-903E-D3D84722C03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c8d59b-d6bb-41c9-8e15-fbabe89884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TN PPT Template_Master.potx</Template>
  <TotalTime>2479</TotalTime>
  <Words>671</Words>
  <Application>Microsoft Office PowerPoint</Application>
  <PresentationFormat>On-screen Show (4:3)</PresentationFormat>
  <Paragraphs>100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ourier New</vt:lpstr>
      <vt:lpstr>Wingdings</vt:lpstr>
      <vt:lpstr>MTN PPT Template_Master</vt:lpstr>
      <vt:lpstr>1_Internet Solutions_PPT_28.05.13_WA</vt:lpstr>
      <vt:lpstr>2_Internet Solutions_PPT_28.05.13_WA</vt:lpstr>
      <vt:lpstr>3_Internet Solutions_PPT_28.05.13_WA</vt:lpstr>
      <vt:lpstr>think-cell Slide</vt:lpstr>
      <vt:lpstr>PowerPoint Presentation</vt:lpstr>
      <vt:lpstr>Contents</vt:lpstr>
      <vt:lpstr>Instant Messaging Overview</vt:lpstr>
      <vt:lpstr>Chat Applications</vt:lpstr>
      <vt:lpstr>daBlaqObjectives</vt:lpstr>
      <vt:lpstr>daBlaqChat</vt:lpstr>
      <vt:lpstr>daBlaqArchitecture</vt:lpstr>
      <vt:lpstr>daBlaqArchitecture</vt:lpstr>
      <vt:lpstr>Flow Chart</vt:lpstr>
      <vt:lpstr>Flow Chart</vt:lpstr>
      <vt:lpstr>Message Sequence Diagram</vt:lpstr>
      <vt:lpstr>Classes and Functions</vt:lpstr>
      <vt:lpstr>daBlaqDemo</vt:lpstr>
      <vt:lpstr>daBlaqDemo</vt:lpstr>
      <vt:lpstr>daBlaqDemo</vt:lpstr>
      <vt:lpstr>daBlaq-Future Work</vt:lpstr>
      <vt:lpstr>daBlaqCritical Analysis</vt:lpstr>
      <vt:lpstr>daBlaqConclus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orker Ant</dc:creator>
  <cp:lastModifiedBy>Thabang Phefo [ MTN - Innovation Centre ]</cp:lastModifiedBy>
  <cp:revision>134</cp:revision>
  <cp:lastPrinted>2013-05-27T14:14:39Z</cp:lastPrinted>
  <dcterms:created xsi:type="dcterms:W3CDTF">2013-07-16T10:22:34Z</dcterms:created>
  <dcterms:modified xsi:type="dcterms:W3CDTF">2017-03-23T08:0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6E89325A5B6348AE31AC8EC91E5E53</vt:lpwstr>
  </property>
</Properties>
</file>